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2618" r:id="rId5"/>
  </p:sldIdLst>
  <p:sldSz cx="11950700" cy="6729413"/>
  <p:notesSz cx="6742113" cy="9872663"/>
  <p:custDataLst>
    <p:tags r:id="rId8"/>
  </p:custDataLst>
  <p:defaultTextStyle>
    <a:defPPr>
      <a:defRPr lang="de-DE"/>
    </a:defPPr>
    <a:lvl1pPr marL="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1pPr>
    <a:lvl2pPr marL="59774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2pPr>
    <a:lvl3pPr marL="1195487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3pPr>
    <a:lvl4pPr marL="179323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4pPr>
    <a:lvl5pPr marL="239097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5pPr>
    <a:lvl6pPr marL="2988716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6pPr>
    <a:lvl7pPr marL="3586460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7pPr>
    <a:lvl8pPr marL="4184203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8pPr>
    <a:lvl9pPr marL="4781946" algn="l" defTabSz="1195487" rtl="0" eaLnBrk="1" latinLnBrk="0" hangingPunct="1">
      <a:defRPr sz="23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20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1" autoAdjust="0"/>
    <p:restoredTop sz="94660"/>
  </p:normalViewPr>
  <p:slideViewPr>
    <p:cSldViewPr>
      <p:cViewPr varScale="1">
        <p:scale>
          <a:sx n="74" d="100"/>
          <a:sy n="74" d="100"/>
        </p:scale>
        <p:origin x="197" y="106"/>
      </p:cViewPr>
      <p:guideLst>
        <p:guide orient="horz" pos="2120"/>
        <p:guide pos="37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ger, Alexander" userId="691cdd00-2209-483f-ac5d-3f485405de1f" providerId="ADAL" clId="{4570AD9F-ECE6-499A-96BA-DEAEBE4BD441}"/>
    <pc:docChg chg="custSel modSld modMainMaster">
      <pc:chgData name="Berger, Alexander" userId="691cdd00-2209-483f-ac5d-3f485405de1f" providerId="ADAL" clId="{4570AD9F-ECE6-499A-96BA-DEAEBE4BD441}" dt="2020-10-06T12:53:47.602" v="28" actId="20577"/>
      <pc:docMkLst>
        <pc:docMk/>
      </pc:docMkLst>
      <pc:sldChg chg="delSp modSp">
        <pc:chgData name="Berger, Alexander" userId="691cdd00-2209-483f-ac5d-3f485405de1f" providerId="ADAL" clId="{4570AD9F-ECE6-499A-96BA-DEAEBE4BD441}" dt="2020-10-06T12:45:42.242" v="8" actId="478"/>
        <pc:sldMkLst>
          <pc:docMk/>
          <pc:sldMk cId="2646833957" sldId="2618"/>
        </pc:sldMkLst>
        <pc:spChg chg="del mod">
          <ac:chgData name="Berger, Alexander" userId="691cdd00-2209-483f-ac5d-3f485405de1f" providerId="ADAL" clId="{4570AD9F-ECE6-499A-96BA-DEAEBE4BD441}" dt="2020-10-06T12:45:42.242" v="8" actId="478"/>
          <ac:spMkLst>
            <pc:docMk/>
            <pc:sldMk cId="2646833957" sldId="2618"/>
            <ac:spMk id="76" creationId="{225937C8-001A-40D7-8B59-CF74CCF110B0}"/>
          </ac:spMkLst>
        </pc:spChg>
        <pc:picChg chg="del">
          <ac:chgData name="Berger, Alexander" userId="691cdd00-2209-483f-ac5d-3f485405de1f" providerId="ADAL" clId="{4570AD9F-ECE6-499A-96BA-DEAEBE4BD441}" dt="2020-10-06T12:45:37.651" v="6" actId="478"/>
          <ac:picMkLst>
            <pc:docMk/>
            <pc:sldMk cId="2646833957" sldId="2618"/>
            <ac:picMk id="77" creationId="{CAF1D353-2BBD-4D75-B2A2-142D2C5F3D83}"/>
          </ac:picMkLst>
        </pc:picChg>
      </pc:sldChg>
      <pc:sldMasterChg chg="addSp modSp">
        <pc:chgData name="Berger, Alexander" userId="691cdd00-2209-483f-ac5d-3f485405de1f" providerId="ADAL" clId="{4570AD9F-ECE6-499A-96BA-DEAEBE4BD441}" dt="2020-10-06T12:53:47.602" v="28" actId="20577"/>
        <pc:sldMasterMkLst>
          <pc:docMk/>
          <pc:sldMasterMk cId="419609222" sldId="2147483660"/>
        </pc:sldMasterMkLst>
        <pc:spChg chg="add mod">
          <ac:chgData name="Berger, Alexander" userId="691cdd00-2209-483f-ac5d-3f485405de1f" providerId="ADAL" clId="{4570AD9F-ECE6-499A-96BA-DEAEBE4BD441}" dt="2020-10-06T12:53:47.596" v="26" actId="20577"/>
          <ac:spMkLst>
            <pc:docMk/>
            <pc:sldMasterMk cId="419609222" sldId="2147483660"/>
            <ac:spMk id="9" creationId="{8994B809-2263-4EAF-A5B5-C47E372C2152}"/>
          </ac:spMkLst>
        </pc:spChg>
        <pc:spChg chg="add mod">
          <ac:chgData name="Berger, Alexander" userId="691cdd00-2209-483f-ac5d-3f485405de1f" providerId="ADAL" clId="{4570AD9F-ECE6-499A-96BA-DEAEBE4BD441}" dt="2020-10-06T12:53:47.600" v="27" actId="20577"/>
          <ac:spMkLst>
            <pc:docMk/>
            <pc:sldMasterMk cId="419609222" sldId="2147483660"/>
            <ac:spMk id="10" creationId="{053C7283-6954-4417-929E-8539373BBA0C}"/>
          </ac:spMkLst>
        </pc:spChg>
        <pc:spChg chg="add">
          <ac:chgData name="Berger, Alexander" userId="691cdd00-2209-483f-ac5d-3f485405de1f" providerId="ADAL" clId="{4570AD9F-ECE6-499A-96BA-DEAEBE4BD441}" dt="2020-10-06T12:46:11.254" v="10"/>
          <ac:spMkLst>
            <pc:docMk/>
            <pc:sldMasterMk cId="419609222" sldId="2147483660"/>
            <ac:spMk id="11" creationId="{B5C634CC-3010-47C5-AB66-92C4935687E9}"/>
          </ac:spMkLst>
        </pc:spChg>
        <pc:spChg chg="add mod">
          <ac:chgData name="Berger, Alexander" userId="691cdd00-2209-483f-ac5d-3f485405de1f" providerId="ADAL" clId="{4570AD9F-ECE6-499A-96BA-DEAEBE4BD441}" dt="2020-10-06T12:53:47.602" v="28" actId="20577"/>
          <ac:spMkLst>
            <pc:docMk/>
            <pc:sldMasterMk cId="419609222" sldId="2147483660"/>
            <ac:spMk id="12" creationId="{89E09BB2-C1B3-4D6A-AE54-1647A2337EB1}"/>
          </ac:spMkLst>
        </pc:spChg>
        <pc:spChg chg="mod">
          <ac:chgData name="Berger, Alexander" userId="691cdd00-2209-483f-ac5d-3f485405de1f" providerId="ADAL" clId="{4570AD9F-ECE6-499A-96BA-DEAEBE4BD441}" dt="2020-10-06T12:53:47.589" v="23" actId="20577"/>
          <ac:spMkLst>
            <pc:docMk/>
            <pc:sldMasterMk cId="419609222" sldId="2147483660"/>
            <ac:spMk id="28" creationId="{00000000-0000-0000-0000-000000000000}"/>
          </ac:spMkLst>
        </pc:spChg>
        <pc:spChg chg="mod">
          <ac:chgData name="Berger, Alexander" userId="691cdd00-2209-483f-ac5d-3f485405de1f" providerId="ADAL" clId="{4570AD9F-ECE6-499A-96BA-DEAEBE4BD441}" dt="2020-10-06T12:53:47.593" v="25" actId="20577"/>
          <ac:spMkLst>
            <pc:docMk/>
            <pc:sldMasterMk cId="419609222" sldId="2147483660"/>
            <ac:spMk id="30" creationId="{00000000-0000-0000-0000-000000000000}"/>
          </ac:spMkLst>
        </pc:spChg>
      </pc:sldMasterChg>
    </pc:docChg>
  </pc:docChgLst>
  <pc:docChgLst>
    <pc:chgData name="Forneris, Sergio" userId="480ab7a0-1719-497b-a20a-72e30170042c" providerId="ADAL" clId="{62CAFDDE-6EBD-455C-AD42-AE762D57CB6F}"/>
    <pc:docChg chg="delSld modSld delMainMaster">
      <pc:chgData name="Forneris, Sergio" userId="480ab7a0-1719-497b-a20a-72e30170042c" providerId="ADAL" clId="{62CAFDDE-6EBD-455C-AD42-AE762D57CB6F}" dt="2020-08-18T12:55:03.483" v="71" actId="20577"/>
      <pc:docMkLst>
        <pc:docMk/>
      </pc:docMkLst>
      <pc:sldChg chg="del">
        <pc:chgData name="Forneris, Sergio" userId="480ab7a0-1719-497b-a20a-72e30170042c" providerId="ADAL" clId="{62CAFDDE-6EBD-455C-AD42-AE762D57CB6F}" dt="2020-08-18T12:54:27.072" v="17" actId="2696"/>
        <pc:sldMkLst>
          <pc:docMk/>
          <pc:sldMk cId="2918729257" sldId="292"/>
        </pc:sldMkLst>
      </pc:sldChg>
      <pc:sldChg chg="del">
        <pc:chgData name="Forneris, Sergio" userId="480ab7a0-1719-497b-a20a-72e30170042c" providerId="ADAL" clId="{62CAFDDE-6EBD-455C-AD42-AE762D57CB6F}" dt="2020-08-18T12:54:26.956" v="2" actId="2696"/>
        <pc:sldMkLst>
          <pc:docMk/>
          <pc:sldMk cId="437411601" sldId="380"/>
        </pc:sldMkLst>
      </pc:sldChg>
      <pc:sldChg chg="del">
        <pc:chgData name="Forneris, Sergio" userId="480ab7a0-1719-497b-a20a-72e30170042c" providerId="ADAL" clId="{62CAFDDE-6EBD-455C-AD42-AE762D57CB6F}" dt="2020-08-18T12:54:26.919" v="0" actId="2696"/>
        <pc:sldMkLst>
          <pc:docMk/>
          <pc:sldMk cId="709948004" sldId="474"/>
        </pc:sldMkLst>
      </pc:sldChg>
      <pc:sldChg chg="modSp">
        <pc:chgData name="Forneris, Sergio" userId="480ab7a0-1719-497b-a20a-72e30170042c" providerId="ADAL" clId="{62CAFDDE-6EBD-455C-AD42-AE762D57CB6F}" dt="2020-08-18T12:55:03.483" v="71" actId="20577"/>
        <pc:sldMkLst>
          <pc:docMk/>
          <pc:sldMk cId="2254875060" sldId="483"/>
        </pc:sldMkLst>
        <pc:spChg chg="mod">
          <ac:chgData name="Forneris, Sergio" userId="480ab7a0-1719-497b-a20a-72e30170042c" providerId="ADAL" clId="{62CAFDDE-6EBD-455C-AD42-AE762D57CB6F}" dt="2020-08-18T12:55:03.483" v="71" actId="20577"/>
          <ac:spMkLst>
            <pc:docMk/>
            <pc:sldMk cId="2254875060" sldId="483"/>
            <ac:spMk id="13" creationId="{5264A66B-689D-4513-B48E-E3FD9894E6C1}"/>
          </ac:spMkLst>
        </pc:spChg>
      </pc:sldChg>
      <pc:sldChg chg="del">
        <pc:chgData name="Forneris, Sergio" userId="480ab7a0-1719-497b-a20a-72e30170042c" providerId="ADAL" clId="{62CAFDDE-6EBD-455C-AD42-AE762D57CB6F}" dt="2020-08-18T12:54:26.976" v="3" actId="2696"/>
        <pc:sldMkLst>
          <pc:docMk/>
          <pc:sldMk cId="1521452878" sldId="484"/>
        </pc:sldMkLst>
      </pc:sldChg>
      <pc:sldChg chg="del">
        <pc:chgData name="Forneris, Sergio" userId="480ab7a0-1719-497b-a20a-72e30170042c" providerId="ADAL" clId="{62CAFDDE-6EBD-455C-AD42-AE762D57CB6F}" dt="2020-08-18T12:54:27.121" v="18" actId="2696"/>
        <pc:sldMkLst>
          <pc:docMk/>
          <pc:sldMk cId="1161902923" sldId="485"/>
        </pc:sldMkLst>
      </pc:sldChg>
      <pc:sldChg chg="del">
        <pc:chgData name="Forneris, Sergio" userId="480ab7a0-1719-497b-a20a-72e30170042c" providerId="ADAL" clId="{62CAFDDE-6EBD-455C-AD42-AE762D57CB6F}" dt="2020-08-18T12:54:27.170" v="20" actId="2696"/>
        <pc:sldMkLst>
          <pc:docMk/>
          <pc:sldMk cId="3336704098" sldId="489"/>
        </pc:sldMkLst>
      </pc:sldChg>
      <pc:sldChg chg="del">
        <pc:chgData name="Forneris, Sergio" userId="480ab7a0-1719-497b-a20a-72e30170042c" providerId="ADAL" clId="{62CAFDDE-6EBD-455C-AD42-AE762D57CB6F}" dt="2020-08-18T12:54:27.199" v="21" actId="2696"/>
        <pc:sldMkLst>
          <pc:docMk/>
          <pc:sldMk cId="1318592676" sldId="490"/>
        </pc:sldMkLst>
      </pc:sldChg>
      <pc:sldChg chg="del">
        <pc:chgData name="Forneris, Sergio" userId="480ab7a0-1719-497b-a20a-72e30170042c" providerId="ADAL" clId="{62CAFDDE-6EBD-455C-AD42-AE762D57CB6F}" dt="2020-08-18T12:54:27.010" v="16" actId="2696"/>
        <pc:sldMkLst>
          <pc:docMk/>
          <pc:sldMk cId="3381228408" sldId="501"/>
        </pc:sldMkLst>
      </pc:sldChg>
      <pc:sldChg chg="del">
        <pc:chgData name="Forneris, Sergio" userId="480ab7a0-1719-497b-a20a-72e30170042c" providerId="ADAL" clId="{62CAFDDE-6EBD-455C-AD42-AE762D57CB6F}" dt="2020-08-18T12:54:27.145" v="19" actId="2696"/>
        <pc:sldMkLst>
          <pc:docMk/>
          <pc:sldMk cId="1828557373" sldId="527"/>
        </pc:sldMkLst>
      </pc:sldChg>
      <pc:sldChg chg="addSp">
        <pc:chgData name="Forneris, Sergio" userId="480ab7a0-1719-497b-a20a-72e30170042c" providerId="ADAL" clId="{62CAFDDE-6EBD-455C-AD42-AE762D57CB6F}" dt="2020-08-18T12:54:38.125" v="22"/>
        <pc:sldMkLst>
          <pc:docMk/>
          <pc:sldMk cId="2646833957" sldId="2618"/>
        </pc:sldMkLst>
        <pc:spChg chg="add">
          <ac:chgData name="Forneris, Sergio" userId="480ab7a0-1719-497b-a20a-72e30170042c" providerId="ADAL" clId="{62CAFDDE-6EBD-455C-AD42-AE762D57CB6F}" dt="2020-08-18T12:54:38.125" v="22"/>
          <ac:spMkLst>
            <pc:docMk/>
            <pc:sldMk cId="2646833957" sldId="2618"/>
            <ac:spMk id="76" creationId="{225937C8-001A-40D7-8B59-CF74CCF110B0}"/>
          </ac:spMkLst>
        </pc:spChg>
        <pc:picChg chg="add">
          <ac:chgData name="Forneris, Sergio" userId="480ab7a0-1719-497b-a20a-72e30170042c" providerId="ADAL" clId="{62CAFDDE-6EBD-455C-AD42-AE762D57CB6F}" dt="2020-08-18T12:54:38.125" v="22"/>
          <ac:picMkLst>
            <pc:docMk/>
            <pc:sldMk cId="2646833957" sldId="2618"/>
            <ac:picMk id="77" creationId="{CAF1D353-2BBD-4D75-B2A2-142D2C5F3D83}"/>
          </ac:picMkLst>
        </pc:picChg>
      </pc:sldChg>
      <pc:sldMasterChg chg="delSldLayout">
        <pc:chgData name="Forneris, Sergio" userId="480ab7a0-1719-497b-a20a-72e30170042c" providerId="ADAL" clId="{62CAFDDE-6EBD-455C-AD42-AE762D57CB6F}" dt="2020-08-18T12:54:26.920" v="1" actId="2696"/>
        <pc:sldMasterMkLst>
          <pc:docMk/>
          <pc:sldMasterMk cId="419609222" sldId="2147483660"/>
        </pc:sldMasterMkLst>
        <pc:sldLayoutChg chg="del">
          <pc:chgData name="Forneris, Sergio" userId="480ab7a0-1719-497b-a20a-72e30170042c" providerId="ADAL" clId="{62CAFDDE-6EBD-455C-AD42-AE762D57CB6F}" dt="2020-08-18T12:54:26.920" v="1" actId="2696"/>
          <pc:sldLayoutMkLst>
            <pc:docMk/>
            <pc:sldMasterMk cId="419609222" sldId="2147483660"/>
            <pc:sldLayoutMk cId="2381492344" sldId="2147483673"/>
          </pc:sldLayoutMkLst>
        </pc:sldLayoutChg>
      </pc:sldMasterChg>
      <pc:sldMasterChg chg="del delSldLayout">
        <pc:chgData name="Forneris, Sergio" userId="480ab7a0-1719-497b-a20a-72e30170042c" providerId="ADAL" clId="{62CAFDDE-6EBD-455C-AD42-AE762D57CB6F}" dt="2020-08-18T12:54:26.985" v="15" actId="2696"/>
        <pc:sldMasterMkLst>
          <pc:docMk/>
          <pc:sldMasterMk cId="1137112090" sldId="2147483677"/>
        </pc:sldMasterMkLst>
        <pc:sldLayoutChg chg="del">
          <pc:chgData name="Forneris, Sergio" userId="480ab7a0-1719-497b-a20a-72e30170042c" providerId="ADAL" clId="{62CAFDDE-6EBD-455C-AD42-AE762D57CB6F}" dt="2020-08-18T12:54:26.977" v="4" actId="2696"/>
          <pc:sldLayoutMkLst>
            <pc:docMk/>
            <pc:sldMasterMk cId="1137112090" sldId="2147483677"/>
            <pc:sldLayoutMk cId="2360385809" sldId="2147483678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7" v="5" actId="2696"/>
          <pc:sldLayoutMkLst>
            <pc:docMk/>
            <pc:sldMasterMk cId="1137112090" sldId="2147483677"/>
            <pc:sldLayoutMk cId="3724658693" sldId="2147483679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7" v="6" actId="2696"/>
          <pc:sldLayoutMkLst>
            <pc:docMk/>
            <pc:sldMasterMk cId="1137112090" sldId="2147483677"/>
            <pc:sldLayoutMk cId="1393427593" sldId="2147483680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8" v="7" actId="2696"/>
          <pc:sldLayoutMkLst>
            <pc:docMk/>
            <pc:sldMasterMk cId="1137112090" sldId="2147483677"/>
            <pc:sldLayoutMk cId="127688180" sldId="2147483681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9" v="8" actId="2696"/>
          <pc:sldLayoutMkLst>
            <pc:docMk/>
            <pc:sldMasterMk cId="1137112090" sldId="2147483677"/>
            <pc:sldLayoutMk cId="21430585" sldId="2147483682"/>
          </pc:sldLayoutMkLst>
        </pc:sldLayoutChg>
        <pc:sldLayoutChg chg="del">
          <pc:chgData name="Forneris, Sergio" userId="480ab7a0-1719-497b-a20a-72e30170042c" providerId="ADAL" clId="{62CAFDDE-6EBD-455C-AD42-AE762D57CB6F}" dt="2020-08-18T12:54:26.979" v="9" actId="2696"/>
          <pc:sldLayoutMkLst>
            <pc:docMk/>
            <pc:sldMasterMk cId="1137112090" sldId="2147483677"/>
            <pc:sldLayoutMk cId="3703349908" sldId="2147483683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0" actId="2696"/>
          <pc:sldLayoutMkLst>
            <pc:docMk/>
            <pc:sldMasterMk cId="1137112090" sldId="2147483677"/>
            <pc:sldLayoutMk cId="1596536306" sldId="2147483684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1" actId="2696"/>
          <pc:sldLayoutMkLst>
            <pc:docMk/>
            <pc:sldMasterMk cId="1137112090" sldId="2147483677"/>
            <pc:sldLayoutMk cId="1057036554" sldId="2147483685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2" actId="2696"/>
          <pc:sldLayoutMkLst>
            <pc:docMk/>
            <pc:sldMasterMk cId="1137112090" sldId="2147483677"/>
            <pc:sldLayoutMk cId="2727025123" sldId="2147483686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0" v="13" actId="2696"/>
          <pc:sldLayoutMkLst>
            <pc:docMk/>
            <pc:sldMasterMk cId="1137112090" sldId="2147483677"/>
            <pc:sldLayoutMk cId="2305832135" sldId="2147483687"/>
          </pc:sldLayoutMkLst>
        </pc:sldLayoutChg>
        <pc:sldLayoutChg chg="del">
          <pc:chgData name="Forneris, Sergio" userId="480ab7a0-1719-497b-a20a-72e30170042c" providerId="ADAL" clId="{62CAFDDE-6EBD-455C-AD42-AE762D57CB6F}" dt="2020-08-18T12:54:26.981" v="14" actId="2696"/>
          <pc:sldLayoutMkLst>
            <pc:docMk/>
            <pc:sldMasterMk cId="1137112090" sldId="2147483677"/>
            <pc:sldLayoutMk cId="3275446502" sldId="2147483689"/>
          </pc:sldLayoutMkLst>
        </pc:sldLayoutChg>
      </pc:sldMasterChg>
    </pc:docChg>
  </pc:docChgLst>
  <pc:docChgLst>
    <pc:chgData name="Forneris, Sergio" userId="480ab7a0-1719-497b-a20a-72e30170042c" providerId="ADAL" clId="{AD4AC8E2-A890-43B3-ABBF-00CFF9B4B213}"/>
    <pc:docChg chg="custSel addSld delSld modSld">
      <pc:chgData name="Forneris, Sergio" userId="480ab7a0-1719-497b-a20a-72e30170042c" providerId="ADAL" clId="{AD4AC8E2-A890-43B3-ABBF-00CFF9B4B213}" dt="2020-08-18T14:15:01.051" v="146" actId="2696"/>
      <pc:docMkLst>
        <pc:docMk/>
      </pc:docMkLst>
      <pc:sldChg chg="del">
        <pc:chgData name="Forneris, Sergio" userId="480ab7a0-1719-497b-a20a-72e30170042c" providerId="ADAL" clId="{AD4AC8E2-A890-43B3-ABBF-00CFF9B4B213}" dt="2020-08-18T13:50:03.571" v="141" actId="2696"/>
        <pc:sldMkLst>
          <pc:docMk/>
          <pc:sldMk cId="2254875060" sldId="483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288624844" sldId="717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4293573436" sldId="728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176593854" sldId="2603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777278246" sldId="2609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1418584281" sldId="2610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756154710" sldId="2611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4148406307" sldId="2612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1126219076" sldId="2613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416417600" sldId="2614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1200462372" sldId="2615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302006245" sldId="2616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035098859" sldId="2617"/>
        </pc:sldMkLst>
      </pc:sldChg>
      <pc:sldChg chg="addSp modSp">
        <pc:chgData name="Forneris, Sergio" userId="480ab7a0-1719-497b-a20a-72e30170042c" providerId="ADAL" clId="{AD4AC8E2-A890-43B3-ABBF-00CFF9B4B213}" dt="2020-08-18T13:46:42.307" v="140" actId="1076"/>
        <pc:sldMkLst>
          <pc:docMk/>
          <pc:sldMk cId="2646833957" sldId="2618"/>
        </pc:sldMkLst>
        <pc:spChg chg="add mod">
          <ac:chgData name="Forneris, Sergio" userId="480ab7a0-1719-497b-a20a-72e30170042c" providerId="ADAL" clId="{AD4AC8E2-A890-43B3-ABBF-00CFF9B4B213}" dt="2020-08-18T13:46:01.424" v="104" actId="1076"/>
          <ac:spMkLst>
            <pc:docMk/>
            <pc:sldMk cId="2646833957" sldId="2618"/>
            <ac:spMk id="79" creationId="{DCA2DD8B-E8BA-4C87-8ED5-5909E9AA40D3}"/>
          </ac:spMkLst>
        </pc:spChg>
        <pc:spChg chg="add mod">
          <ac:chgData name="Forneris, Sergio" userId="480ab7a0-1719-497b-a20a-72e30170042c" providerId="ADAL" clId="{AD4AC8E2-A890-43B3-ABBF-00CFF9B4B213}" dt="2020-08-18T13:46:42.307" v="140" actId="1076"/>
          <ac:spMkLst>
            <pc:docMk/>
            <pc:sldMk cId="2646833957" sldId="2618"/>
            <ac:spMk id="80" creationId="{7091C4A7-E3EE-41D9-99FC-12F761DE313F}"/>
          </ac:spMkLst>
        </pc:spChg>
        <pc:spChg chg="mod">
          <ac:chgData name="Forneris, Sergio" userId="480ab7a0-1719-497b-a20a-72e30170042c" providerId="ADAL" clId="{AD4AC8E2-A890-43B3-ABBF-00CFF9B4B213}" dt="2020-08-18T13:42:30.159" v="7" actId="14100"/>
          <ac:spMkLst>
            <pc:docMk/>
            <pc:sldMk cId="2646833957" sldId="2618"/>
            <ac:spMk id="105" creationId="{0EDE00EC-4518-4933-BB59-77A582EE9262}"/>
          </ac:spMkLst>
        </pc:spChg>
      </pc:sldChg>
      <pc:sldChg chg="delSp add del">
        <pc:chgData name="Forneris, Sergio" userId="480ab7a0-1719-497b-a20a-72e30170042c" providerId="ADAL" clId="{AD4AC8E2-A890-43B3-ABBF-00CFF9B4B213}" dt="2020-08-18T14:15:01.051" v="146" actId="2696"/>
        <pc:sldMkLst>
          <pc:docMk/>
          <pc:sldMk cId="1313592357" sldId="2619"/>
        </pc:sldMkLst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1" creationId="{66A6B840-B9B6-4E75-8D77-5B812312268D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2" creationId="{14F31E2C-A7EA-4F2C-A98C-2A0E3B1EBC7E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3" creationId="{467B07DC-6587-4706-A9C3-670E319079BA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7" creationId="{D1365A2F-9F80-4E4D-92D0-49B3611136E8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8" creationId="{097A317B-E029-45CB-873B-97C2750D6E03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59" creationId="{4465BEDD-AE71-4365-B9CB-73032210C623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60" creationId="{D2D2CF3D-5C65-4439-BE8A-AF9A823C2D09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67" creationId="{27331E83-4F81-4136-B8DE-9121D269BEF0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68" creationId="{5BC24DC5-4794-44C3-8EE8-7539B9889AEF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69" creationId="{6E4AE688-5642-4504-BFA3-FCF8420A14F6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70" creationId="{58512EBF-9A53-45C8-BB39-F1DB95211EEA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71" creationId="{B8D4CD55-9371-4A4D-9B72-9300F37DCEC3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73" creationId="{66B9EDC2-1F76-4B90-B3CC-CEF584E4A4F8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74" creationId="{B89DF2E5-9043-4B25-A272-96D84FB22FA7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79" creationId="{DCA2DD8B-E8BA-4C87-8ED5-5909E9AA40D3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80" creationId="{7091C4A7-E3EE-41D9-99FC-12F761DE313F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93" creationId="{E224BCDE-411A-4C7E-B032-A5AB6D64F288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94" creationId="{7E07C28B-5998-47EF-84DD-CE976FCD39E1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95" creationId="{3755CF62-52A8-49D5-B29C-A4C3A615E002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102" creationId="{2300C760-4B78-4839-A234-750C7E113F8B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105" creationId="{0EDE00EC-4518-4933-BB59-77A582EE9262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107" creationId="{F295F1B2-4E1D-4D20-B36C-8D4A81054FF2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110" creationId="{52640B4C-5631-4779-9E1F-B4AD220536C6}"/>
          </ac:spMkLst>
        </pc:spChg>
        <pc:spChg chg="del">
          <ac:chgData name="Forneris, Sergio" userId="480ab7a0-1719-497b-a20a-72e30170042c" providerId="ADAL" clId="{AD4AC8E2-A890-43B3-ABBF-00CFF9B4B213}" dt="2020-08-18T14:14:14.331" v="144" actId="478"/>
          <ac:spMkLst>
            <pc:docMk/>
            <pc:sldMk cId="1313592357" sldId="2619"/>
            <ac:spMk id="112" creationId="{1AE2A353-01E7-4D94-9597-01A8C7625593}"/>
          </ac:spMkLst>
        </pc:spChg>
        <pc:grpChg chg="del">
          <ac:chgData name="Forneris, Sergio" userId="480ab7a0-1719-497b-a20a-72e30170042c" providerId="ADAL" clId="{AD4AC8E2-A890-43B3-ABBF-00CFF9B4B213}" dt="2020-08-18T14:14:15.421" v="145" actId="478"/>
          <ac:grpSpMkLst>
            <pc:docMk/>
            <pc:sldMk cId="1313592357" sldId="2619"/>
            <ac:grpSpMk id="20" creationId="{35587DFF-397B-4AEA-B170-25C5349961FD}"/>
          </ac:grpSpMkLst>
        </pc:grpChg>
        <pc:grpChg chg="del">
          <ac:chgData name="Forneris, Sergio" userId="480ab7a0-1719-497b-a20a-72e30170042c" providerId="ADAL" clId="{AD4AC8E2-A890-43B3-ABBF-00CFF9B4B213}" dt="2020-08-18T14:14:14.331" v="144" actId="478"/>
          <ac:grpSpMkLst>
            <pc:docMk/>
            <pc:sldMk cId="1313592357" sldId="2619"/>
            <ac:grpSpMk id="27" creationId="{A11D6575-954C-4C5D-92B4-D328CA770734}"/>
          </ac:grpSpMkLst>
        </pc:grpChg>
        <pc:picChg chg="del">
          <ac:chgData name="Forneris, Sergio" userId="480ab7a0-1719-497b-a20a-72e30170042c" providerId="ADAL" clId="{AD4AC8E2-A890-43B3-ABBF-00CFF9B4B213}" dt="2020-08-18T14:14:10.551" v="143" actId="478"/>
          <ac:picMkLst>
            <pc:docMk/>
            <pc:sldMk cId="1313592357" sldId="2619"/>
            <ac:picMk id="26" creationId="{9989B669-2F18-4466-BA67-B6171DFACB27}"/>
          </ac:picMkLst>
        </pc:picChg>
        <pc:picChg chg="del">
          <ac:chgData name="Forneris, Sergio" userId="480ab7a0-1719-497b-a20a-72e30170042c" providerId="ADAL" clId="{AD4AC8E2-A890-43B3-ABBF-00CFF9B4B213}" dt="2020-08-18T14:14:14.331" v="144" actId="478"/>
          <ac:picMkLst>
            <pc:docMk/>
            <pc:sldMk cId="1313592357" sldId="2619"/>
            <ac:picMk id="32" creationId="{EDDED5C6-9EB3-4D4C-851D-D675F9CA8C82}"/>
          </ac:picMkLst>
        </pc:pic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12" creationId="{80DD089A-7DB5-4348-868F-2FBAD3B25615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33" creationId="{1BBF3574-DBE7-4949-88BC-621528A0F71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36" creationId="{EE06E732-A5D9-464F-BC23-F05B19D6393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39" creationId="{0ED7EEF4-80C7-4DB1-BD79-B5255713EE3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40" creationId="{F251537D-69C2-46C2-907C-C74DB98F253E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43" creationId="{2DB1A7B1-FF72-4769-ADC1-455669DDFBC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48" creationId="{BED6F6EE-12DE-4C28-BCC9-F608DE841DC4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50" creationId="{AFB75E78-1C4F-4C76-AF2B-69743E6835CD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55" creationId="{7034FAE7-C628-4A84-B329-9FBF2D8B4905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56" creationId="{0EB869A2-AE54-4BFC-92D1-6BD56CADEFFA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62" creationId="{09E14510-1E02-4A08-BCA8-E77FA9CC956A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64" creationId="{884D86F9-EACF-4C5C-B2AB-425C46C47E2A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65" creationId="{369C9F02-D2E5-4D5F-A3C6-7EE3C81C8F9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66" creationId="{0BECE5EF-8D25-4AC3-9EB6-AF15B48E8D70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72" creationId="{20249514-EFD4-47C6-8969-381C77FDC425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75" creationId="{259133ED-B275-4ED4-8399-F29185815A37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78" creationId="{5C61EF19-4022-4BA2-92F5-1055D93F658B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91" creationId="{85A397A6-75DF-431F-A355-AE74A7B51874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92" creationId="{59939F30-DC85-4471-92E3-30DEF8C2C326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96" creationId="{19D1C011-5DE1-48BA-ACA5-AE8798206702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97" creationId="{B813DFDF-5EE8-49EF-B3A6-42269130A6BE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98" creationId="{5C6178EF-97BE-4F92-8EA4-A55DAAC47F00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100" creationId="{46D49310-B41C-45C3-B37B-5C2800971DD1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101" creationId="{E3D06D68-E844-44BA-B8BD-288963268CF9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113" creationId="{F75091BA-AD19-4844-BE93-167D697652EF}"/>
          </ac:cxnSpMkLst>
        </pc:cxnChg>
        <pc:cxnChg chg="del">
          <ac:chgData name="Forneris, Sergio" userId="480ab7a0-1719-497b-a20a-72e30170042c" providerId="ADAL" clId="{AD4AC8E2-A890-43B3-ABBF-00CFF9B4B213}" dt="2020-08-18T14:14:14.331" v="144" actId="478"/>
          <ac:cxnSpMkLst>
            <pc:docMk/>
            <pc:sldMk cId="1313592357" sldId="2619"/>
            <ac:cxnSpMk id="114" creationId="{3B4CBA64-EE4C-4CA6-AAE9-B8E158D4B5C4}"/>
          </ac:cxnSpMkLst>
        </pc:cxnChg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1854189044" sldId="2619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33361036" sldId="2620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971142935" sldId="2621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166658624" sldId="2622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2293385276" sldId="2623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055986726" sldId="2624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4146250154" sldId="2625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4256387725" sldId="2626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895891112" sldId="2627"/>
        </pc:sldMkLst>
      </pc:sldChg>
      <pc:sldChg chg="del">
        <pc:chgData name="Forneris, Sergio" userId="480ab7a0-1719-497b-a20a-72e30170042c" providerId="ADAL" clId="{AD4AC8E2-A890-43B3-ABBF-00CFF9B4B213}" dt="2020-08-18T13:40:24.298" v="0"/>
        <pc:sldMkLst>
          <pc:docMk/>
          <pc:sldMk cId="3253866272" sldId="2628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D865E9F6-3DCE-458E-88F4-FD64C3EBBC26}" type="datetimeFigureOut">
              <a:rPr lang="en-GB" smtClean="0"/>
              <a:t>06/10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012A2B44-81A9-4E30-AA33-AADB2C47BDDB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790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6AF4AF59-3B09-4652-9A0C-D0E6476654FE}" type="datetimeFigureOut">
              <a:rPr lang="en-GB" smtClean="0"/>
              <a:t>06/10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3488"/>
            <a:ext cx="591661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21"/>
            <a:ext cx="5393690" cy="3887361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4325CB2C-3E4C-4F9D-B619-B033CE6E0A1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7545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9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2002" y="2068514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4" name="Textfeld 3"/>
          <p:cNvSpPr txBox="1"/>
          <p:nvPr>
            <p:custDataLst>
              <p:tags r:id="rId2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3533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top 2 Columns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50828" y="5272918"/>
            <a:ext cx="11449049" cy="320686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100" b="1"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  <p:custDataLst>
              <p:tags r:id="rId2"/>
            </p:custDataLst>
          </p:nvPr>
        </p:nvSpPr>
        <p:spPr>
          <a:xfrm>
            <a:off x="250825" y="1565277"/>
            <a:ext cx="11449050" cy="364424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>
            <a:lvl1pPr marL="0" indent="0">
              <a:buNone/>
              <a:defRPr sz="1600"/>
            </a:lvl1pPr>
            <a:lvl2pPr marL="457159" indent="0">
              <a:buNone/>
              <a:defRPr sz="2799"/>
            </a:lvl2pPr>
            <a:lvl3pPr marL="914316" indent="0">
              <a:buNone/>
              <a:defRPr sz="2399"/>
            </a:lvl3pPr>
            <a:lvl4pPr marL="1371475" indent="0">
              <a:buNone/>
              <a:defRPr sz="2000"/>
            </a:lvl4pPr>
            <a:lvl5pPr marL="1828634" indent="0">
              <a:buNone/>
              <a:defRPr sz="2000"/>
            </a:lvl5pPr>
            <a:lvl6pPr marL="2285793" indent="0">
              <a:buNone/>
              <a:defRPr sz="2000"/>
            </a:lvl6pPr>
            <a:lvl7pPr marL="2742950" indent="0">
              <a:buNone/>
              <a:defRPr sz="2000"/>
            </a:lvl7pPr>
            <a:lvl8pPr marL="3200109" indent="0">
              <a:buNone/>
              <a:defRPr sz="2000"/>
            </a:lvl8pPr>
            <a:lvl9pPr marL="3657268" indent="0">
              <a:buNone/>
              <a:defRPr sz="2000"/>
            </a:lvl9pPr>
          </a:lstStyle>
          <a:p>
            <a:pPr lvl="0"/>
            <a:r>
              <a:rPr lang="de-DE" noProof="0"/>
              <a:t>Bild durch Klicken auf Symbol hinzufügen</a:t>
            </a:r>
            <a:endParaRPr lang="en-GB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  <p:custDataLst>
              <p:tags r:id="rId3"/>
            </p:custDataLst>
          </p:nvPr>
        </p:nvSpPr>
        <p:spPr>
          <a:xfrm>
            <a:off x="250825" y="5657007"/>
            <a:ext cx="5616575" cy="84063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 marL="457159" indent="0">
              <a:buNone/>
              <a:defRPr sz="1200"/>
            </a:lvl2pPr>
            <a:lvl3pPr marL="914316" indent="0">
              <a:buNone/>
              <a:defRPr sz="1000"/>
            </a:lvl3pPr>
            <a:lvl4pPr marL="1371475" indent="0">
              <a:buNone/>
              <a:defRPr sz="900"/>
            </a:lvl4pPr>
            <a:lvl5pPr marL="1828634" indent="0">
              <a:buNone/>
              <a:defRPr sz="900"/>
            </a:lvl5pPr>
            <a:lvl6pPr marL="2285793" indent="0">
              <a:buNone/>
              <a:defRPr sz="900"/>
            </a:lvl6pPr>
            <a:lvl7pPr marL="2742950" indent="0">
              <a:buNone/>
              <a:defRPr sz="900"/>
            </a:lvl7pPr>
            <a:lvl8pPr marL="3200109" indent="0">
              <a:buNone/>
              <a:defRPr sz="900"/>
            </a:lvl8pPr>
            <a:lvl9pPr marL="3657268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feld 6"/>
          <p:cNvSpPr txBox="1"/>
          <p:nvPr>
            <p:custDataLst>
              <p:tags r:id="rId4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extplatzhalter 3"/>
          <p:cNvSpPr>
            <a:spLocks noGrp="1"/>
          </p:cNvSpPr>
          <p:nvPr>
            <p:ph type="body" sz="half" idx="10"/>
            <p:custDataLst>
              <p:tags r:id="rId5"/>
            </p:custDataLst>
          </p:nvPr>
        </p:nvSpPr>
        <p:spPr>
          <a:xfrm>
            <a:off x="6078488" y="5657005"/>
            <a:ext cx="5616575" cy="8406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 marL="457159" indent="0">
              <a:buNone/>
              <a:defRPr sz="1200"/>
            </a:lvl2pPr>
            <a:lvl3pPr marL="914316" indent="0">
              <a:buNone/>
              <a:defRPr sz="1000"/>
            </a:lvl3pPr>
            <a:lvl4pPr marL="1371475" indent="0">
              <a:buNone/>
              <a:defRPr sz="900"/>
            </a:lvl4pPr>
            <a:lvl5pPr marL="1828634" indent="0">
              <a:buNone/>
              <a:defRPr sz="900"/>
            </a:lvl5pPr>
            <a:lvl6pPr marL="2285793" indent="0">
              <a:buNone/>
              <a:defRPr sz="900"/>
            </a:lvl6pPr>
            <a:lvl7pPr marL="2742950" indent="0">
              <a:buNone/>
              <a:defRPr sz="900"/>
            </a:lvl7pPr>
            <a:lvl8pPr marL="3200109" indent="0">
              <a:buNone/>
              <a:defRPr sz="900"/>
            </a:lvl8pPr>
            <a:lvl9pPr marL="3657268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733471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cxnSp>
        <p:nvCxnSpPr>
          <p:cNvPr id="3" name="Gerader Verbinder 2"/>
          <p:cNvCxnSpPr/>
          <p:nvPr/>
        </p:nvCxnSpPr>
        <p:spPr>
          <a:xfrm>
            <a:off x="250825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>
            <a:off x="39600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>
            <a:off x="4175126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58674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6086476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>
            <a:off x="7775574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>
            <a:off x="7992000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 flipH="1">
            <a:off x="2" y="1565276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 flipH="1">
            <a:off x="2" y="2068513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>
          <a:xfrm flipH="1">
            <a:off x="-1" y="2500313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flipH="1">
            <a:off x="-1" y="4408488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>
          <a:xfrm flipH="1">
            <a:off x="-1" y="4660900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>
          <a:xfrm flipH="1">
            <a:off x="-1" y="6497638"/>
            <a:ext cx="11950701" cy="0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>
          <a:xfrm>
            <a:off x="11699875" y="1"/>
            <a:ext cx="0" cy="6729413"/>
          </a:xfrm>
          <a:prstGeom prst="line">
            <a:avLst/>
          </a:prstGeom>
          <a:ln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7001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2CC0B7-0A21-41B1-90F9-392BC00E5A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2CC0B7-0A21-41B1-90F9-392BC00E5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0016833-FF7E-4D5C-B40B-DF2C26A0BAF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29350" y="1713263"/>
            <a:ext cx="11287295" cy="353250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29350" y="2204280"/>
            <a:ext cx="11287295" cy="171973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err="1"/>
              <a:t>Formatvorlage</a:t>
            </a:r>
            <a:r>
              <a:rPr lang="en-US" dirty="0"/>
              <a:t> des </a:t>
            </a:r>
            <a:r>
              <a:rPr lang="en-US" dirty="0" err="1"/>
              <a:t>Untertitelmasters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546119" y="6601679"/>
            <a:ext cx="163907" cy="887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7B327F-BCDD-4C99-BAA2-9881A1D7A056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687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A943AE-7DE8-44C3-9D37-E451DA721B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5" imgW="395" imgH="394" progId="TCLayout.ActiveDocument.1">
                  <p:embed/>
                </p:oleObj>
              </mc:Choice>
              <mc:Fallback>
                <p:oleObj name="think-cell Foli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A943AE-7DE8-44C3-9D37-E451DA721B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06EDC8B-792A-4DC4-A26F-8D2E3D89B8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100" b="1" i="0" baseline="0" dirty="0">
              <a:latin typeface="MetaPlusLF" panose="02000503060000020004" pitchFamily="2" charset="0"/>
              <a:ea typeface="+mj-ea"/>
              <a:cs typeface="+mj-cs"/>
              <a:sym typeface="MetaPlusLF" panose="02000503060000020004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9890" y="1713509"/>
            <a:ext cx="11286772" cy="353606"/>
          </a:xfrm>
          <a:prstGeom prst="rect">
            <a:avLst/>
          </a:prstGeom>
        </p:spPr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9890" y="2204195"/>
            <a:ext cx="11286772" cy="428844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11546119" y="6601679"/>
            <a:ext cx="163907" cy="8879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CB252E-17B2-4916-BC68-93A08283CBC6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890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2"/>
            <p:custDataLst>
              <p:tags r:id="rId1"/>
            </p:custDataLst>
          </p:nvPr>
        </p:nvSpPr>
        <p:spPr>
          <a:xfrm>
            <a:off x="252415" y="2500313"/>
            <a:ext cx="11447462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/>
            </a:lvl1pPr>
            <a:lvl2pPr>
              <a:lnSpc>
                <a:spcPts val="1900"/>
              </a:lnSpc>
              <a:defRPr/>
            </a:lvl2pPr>
            <a:lvl3pPr>
              <a:lnSpc>
                <a:spcPts val="1900"/>
              </a:lnSpc>
              <a:defRPr/>
            </a:lvl3pPr>
            <a:lvl4pPr>
              <a:lnSpc>
                <a:spcPts val="1900"/>
              </a:lnSpc>
              <a:defRPr/>
            </a:lvl4pPr>
            <a:lvl5pPr>
              <a:lnSpc>
                <a:spcPts val="19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252002" y="2068514"/>
            <a:ext cx="11447875" cy="431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5" name="Textfeld 4"/>
          <p:cNvSpPr txBox="1"/>
          <p:nvPr>
            <p:custDataLst>
              <p:tags r:id="rId3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29642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1"/>
            </p:custDataLst>
          </p:nvPr>
        </p:nvSpPr>
        <p:spPr>
          <a:xfrm>
            <a:off x="259755" y="2068513"/>
            <a:ext cx="5616575" cy="4429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  <p:custDataLst>
              <p:tags r:id="rId2"/>
            </p:custDataLst>
          </p:nvPr>
        </p:nvSpPr>
        <p:spPr>
          <a:xfrm>
            <a:off x="6083300" y="2068514"/>
            <a:ext cx="5616575" cy="44291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feld 6"/>
          <p:cNvSpPr txBox="1"/>
          <p:nvPr>
            <p:custDataLst>
              <p:tags r:id="rId3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73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6"/>
          <p:cNvSpPr txBox="1"/>
          <p:nvPr userDrawn="1"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>
          <a:xfrm>
            <a:off x="259200" y="2068513"/>
            <a:ext cx="36648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179600" y="2070000"/>
            <a:ext cx="35964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7992000" y="2070000"/>
            <a:ext cx="3708000" cy="442800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845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252413" y="2502000"/>
            <a:ext cx="11447462" cy="399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>
                <a:solidFill>
                  <a:schemeClr val="accent2"/>
                </a:solidFill>
              </a:defRPr>
            </a:lvl1pPr>
            <a:lvl2pPr marL="0" indent="0">
              <a:buFontTx/>
              <a:buNone/>
              <a:defRPr/>
            </a:lvl2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438257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1"/>
            </p:custDataLst>
          </p:nvPr>
        </p:nvSpPr>
        <p:spPr>
          <a:xfrm>
            <a:off x="259755" y="2500313"/>
            <a:ext cx="5616575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52002" y="2068562"/>
            <a:ext cx="5615401" cy="4317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3999" y="2068562"/>
            <a:ext cx="5613630" cy="4317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 b="1" u="none"/>
            </a:lvl1pPr>
          </a:lstStyle>
          <a:p>
            <a:pPr lvl="0"/>
            <a:r>
              <a:rPr lang="en-GB" dirty="0" err="1"/>
              <a:t>Untertitel</a:t>
            </a:r>
            <a:endParaRPr lang="en-GB" dirty="0"/>
          </a:p>
        </p:txBody>
      </p:sp>
      <p:sp>
        <p:nvSpPr>
          <p:cNvPr id="13" name="Inhaltsplatzhalter 3"/>
          <p:cNvSpPr>
            <a:spLocks noGrp="1"/>
          </p:cNvSpPr>
          <p:nvPr>
            <p:ph sz="half" idx="14"/>
            <p:custDataLst>
              <p:tags r:id="rId4"/>
            </p:custDataLst>
          </p:nvPr>
        </p:nvSpPr>
        <p:spPr>
          <a:xfrm>
            <a:off x="6083302" y="2500313"/>
            <a:ext cx="5585678" cy="39973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900"/>
              </a:lnSpc>
              <a:buNone/>
              <a:defRPr sz="1600"/>
            </a:lvl1pPr>
            <a:lvl2pPr>
              <a:lnSpc>
                <a:spcPts val="1900"/>
              </a:lnSpc>
              <a:defRPr sz="1600"/>
            </a:lvl2pPr>
            <a:lvl3pPr>
              <a:lnSpc>
                <a:spcPts val="1900"/>
              </a:lnSpc>
              <a:defRPr sz="1600"/>
            </a:lvl3pPr>
            <a:lvl4pPr>
              <a:lnSpc>
                <a:spcPts val="1900"/>
              </a:lnSpc>
              <a:defRPr sz="1600"/>
            </a:lvl4pPr>
            <a:lvl5pPr>
              <a:lnSpc>
                <a:spcPts val="1900"/>
              </a:lnSpc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7" name="Textfeld 6"/>
          <p:cNvSpPr txBox="1"/>
          <p:nvPr>
            <p:custDataLst>
              <p:tags r:id="rId5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7620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5426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/>
          <p:cNvSpPr txBox="1"/>
          <p:nvPr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  <p:sp>
        <p:nvSpPr>
          <p:cNvPr id="3" name="Media Placeholder 2"/>
          <p:cNvSpPr>
            <a:spLocks noGrp="1"/>
          </p:cNvSpPr>
          <p:nvPr>
            <p:ph type="media" sz="quarter" idx="12"/>
          </p:nvPr>
        </p:nvSpPr>
        <p:spPr>
          <a:xfrm>
            <a:off x="252413" y="2068513"/>
            <a:ext cx="11447462" cy="44291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Mediaclip durch Klicken auf Symbol hinzufügen</a:t>
            </a:r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252000" y="1566000"/>
            <a:ext cx="11448000" cy="50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2100"/>
              </a:lnSpc>
              <a:spcBef>
                <a:spcPts val="504"/>
              </a:spcBef>
              <a:defRPr/>
            </a:lvl1pPr>
          </a:lstStyle>
          <a:p>
            <a:r>
              <a:rPr lang="de-DE"/>
              <a:t>Titelmasterformat durch Klicken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523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4"/>
          <p:cNvSpPr txBox="1"/>
          <p:nvPr userDrawn="1">
            <p:custDataLst>
              <p:tags r:id="rId1"/>
            </p:custDataLst>
          </p:nvPr>
        </p:nvSpPr>
        <p:spPr>
          <a:xfrm>
            <a:off x="11483965" y="6529360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C5E8B2E1-21AB-4E55-9905-30660C1783F6}" type="slidenum">
              <a:rPr lang="en-GB" sz="700" smtClean="0">
                <a:latin typeface="+mn-lt"/>
              </a:rPr>
              <a:pPr/>
              <a:t>‹Nr.›</a:t>
            </a:fld>
            <a:endParaRPr lang="en-GB" sz="7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2099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" name="Rectangle 28"/>
          <p:cNvSpPr>
            <a:spLocks noChangeArrowheads="1"/>
          </p:cNvSpPr>
          <p:nvPr/>
        </p:nvSpPr>
        <p:spPr bwMode="auto">
          <a:xfrm>
            <a:off x="6773865" y="-642938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endParaRPr lang="en-GB" sz="1800" dirty="0"/>
          </a:p>
        </p:txBody>
      </p:sp>
      <p:cxnSp>
        <p:nvCxnSpPr>
          <p:cNvPr id="33" name="Gerade Verbindung 7"/>
          <p:cNvCxnSpPr/>
          <p:nvPr/>
        </p:nvCxnSpPr>
        <p:spPr>
          <a:xfrm flipV="1">
            <a:off x="250714" y="6529358"/>
            <a:ext cx="11451600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7"/>
          <p:cNvCxnSpPr/>
          <p:nvPr/>
        </p:nvCxnSpPr>
        <p:spPr>
          <a:xfrm flipV="1">
            <a:off x="250129" y="1276474"/>
            <a:ext cx="11449746" cy="0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 descr="Z:\DE\Data\CorporateDesign\2_CDP\2_Druck\02_Gestaltung_Logo\4_Original\Daten\Festo_Logo_4c_22mm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0942700" y="994407"/>
            <a:ext cx="756480" cy="137956"/>
          </a:xfrm>
          <a:prstGeom prst="rect">
            <a:avLst/>
          </a:prstGeom>
          <a:noFill/>
        </p:spPr>
      </p:pic>
      <p:sp>
        <p:nvSpPr>
          <p:cNvPr id="28" name="FESTO_ERSTELLT"/>
          <p:cNvSpPr txBox="1"/>
          <p:nvPr>
            <p:custDataLst>
              <p:tags r:id="rId15"/>
            </p:custDataLst>
          </p:nvPr>
        </p:nvSpPr>
        <p:spPr>
          <a:xfrm>
            <a:off x="4607408" y="6581745"/>
            <a:ext cx="1007902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0">
                <a:latin typeface="+mn-lt"/>
              </a:rPr>
              <a:t>Created: 10/6/2020</a:t>
            </a:r>
            <a:endParaRPr lang="en-GB" sz="700" dirty="0">
              <a:latin typeface="+mn-lt"/>
            </a:endParaRPr>
          </a:p>
        </p:txBody>
      </p:sp>
      <p:sp>
        <p:nvSpPr>
          <p:cNvPr id="29" name="FESTO_GEAENDERT" hidden="1"/>
          <p:cNvSpPr txBox="1"/>
          <p:nvPr>
            <p:custDataLst>
              <p:tags r:id="rId16"/>
            </p:custDataLst>
          </p:nvPr>
        </p:nvSpPr>
        <p:spPr>
          <a:xfrm>
            <a:off x="6515572" y="6581745"/>
            <a:ext cx="14400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700" dirty="0">
              <a:latin typeface="+mn-lt"/>
            </a:endParaRPr>
          </a:p>
        </p:txBody>
      </p:sp>
      <p:sp>
        <p:nvSpPr>
          <p:cNvPr id="30" name="FESTO_STATUS1"/>
          <p:cNvSpPr txBox="1"/>
          <p:nvPr>
            <p:custDataLst>
              <p:tags r:id="rId17"/>
            </p:custDataLst>
          </p:nvPr>
        </p:nvSpPr>
        <p:spPr>
          <a:xfrm>
            <a:off x="7991575" y="6581745"/>
            <a:ext cx="1440001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700">
                <a:latin typeface="+mn-lt"/>
              </a:rPr>
              <a:t> </a:t>
            </a:r>
            <a:endParaRPr lang="en-GB" sz="700" dirty="0">
              <a:latin typeface="+mn-lt"/>
            </a:endParaRPr>
          </a:p>
        </p:txBody>
      </p:sp>
      <p:sp>
        <p:nvSpPr>
          <p:cNvPr id="9" name="FESTO_NAME">
            <a:extLst>
              <a:ext uri="{FF2B5EF4-FFF2-40B4-BE49-F238E27FC236}">
                <a16:creationId xmlns:a16="http://schemas.microsoft.com/office/drawing/2014/main" id="{8994B809-2263-4EAF-A5B5-C47E372C2152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252000" y="6566400"/>
            <a:ext cx="1857600" cy="1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700" baseline="0">
                <a:latin typeface="+mn-lt"/>
              </a:rPr>
              <a:t>Festo_SK-AE</a:t>
            </a:r>
            <a:endParaRPr lang="de-DE" sz="700" dirty="0">
              <a:latin typeface="+mn-lt"/>
            </a:endParaRPr>
          </a:p>
        </p:txBody>
      </p:sp>
      <p:sp>
        <p:nvSpPr>
          <p:cNvPr id="10" name="FESTO_TITEL">
            <a:extLst>
              <a:ext uri="{FF2B5EF4-FFF2-40B4-BE49-F238E27FC236}">
                <a16:creationId xmlns:a16="http://schemas.microsoft.com/office/drawing/2014/main" id="{053C7283-6954-4417-929E-8539373BBA0C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2161221" y="6566400"/>
            <a:ext cx="3819600" cy="1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91431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700" kern="1200">
                <a:solidFill>
                  <a:schemeClr val="tx1"/>
                </a:solidFill>
                <a:latin typeface="MetaPlusLF" pitchFamily="34" charset="0"/>
                <a:ea typeface="+mn-ea"/>
                <a:cs typeface="+mn-cs"/>
              </a:rPr>
              <a:t>VTSA-F-CB_Adressing of ProfiNET valve terminal</a:t>
            </a:r>
          </a:p>
        </p:txBody>
      </p:sp>
      <p:sp>
        <p:nvSpPr>
          <p:cNvPr id="11" name="Slide Number Placeholder 20">
            <a:extLst>
              <a:ext uri="{FF2B5EF4-FFF2-40B4-BE49-F238E27FC236}">
                <a16:creationId xmlns:a16="http://schemas.microsoft.com/office/drawing/2014/main" id="{B5C634CC-3010-47C5-AB66-92C4935687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2800" y="6566400"/>
            <a:ext cx="288306" cy="108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>
                <a:solidFill>
                  <a:schemeClr val="tx1"/>
                </a:solidFill>
                <a:latin typeface="MetaPlusLF" panose="02000503060000020004" pitchFamily="2" charset="-70"/>
              </a:defRPr>
            </a:lvl1pPr>
          </a:lstStyle>
          <a:p>
            <a:fld id="{EA182149-5FEE-46AB-9490-B3CD4011A729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2" name="FESTO_STATUS1">
            <a:extLst>
              <a:ext uri="{FF2B5EF4-FFF2-40B4-BE49-F238E27FC236}">
                <a16:creationId xmlns:a16="http://schemas.microsoft.com/office/drawing/2014/main" id="{89E09BB2-C1B3-4D6A-AE54-1647A2337EB1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8766000" y="6566400"/>
            <a:ext cx="1260000" cy="126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700">
                <a:latin typeface="+mn-lt"/>
              </a:rPr>
              <a:t> </a:t>
            </a:r>
            <a:endParaRPr lang="de-DE" sz="7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609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71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5" r:id="rId12"/>
    <p:sldLayoutId id="2147483676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5pPr>
      <a:lvl6pPr marL="457159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6pPr>
      <a:lvl7pPr marL="914316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7pPr>
      <a:lvl8pPr marL="1371475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8pPr>
      <a:lvl9pPr marL="1828634" algn="l" rtl="0" eaLnBrk="1" fontAlgn="base" hangingPunct="1">
        <a:spcBef>
          <a:spcPct val="0"/>
        </a:spcBef>
        <a:spcAft>
          <a:spcPct val="0"/>
        </a:spcAft>
        <a:defRPr sz="2100" b="1">
          <a:solidFill>
            <a:schemeClr val="tx1"/>
          </a:solidFill>
          <a:latin typeface="MetaPlusLF" pitchFamily="2" charset="0"/>
        </a:defRPr>
      </a:lvl9pPr>
    </p:titleStyle>
    <p:bodyStyle>
      <a:lvl1pPr marL="342869" indent="-34286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MetaPlusLF" pitchFamily="2" charset="0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82" indent="-285724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96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55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14" indent="-228579" algn="l" rtl="0" eaLnBrk="1" fontAlgn="base" hangingPunct="1">
        <a:lnSpc>
          <a:spcPts val="2100"/>
        </a:lnSpc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71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0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89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48" indent="-228579" algn="l" defTabSz="9143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6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5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4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3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0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9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68" algn="l" defTabSz="9143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9632">
          <p15:clr>
            <a:srgbClr val="F26B43"/>
          </p15:clr>
        </p15:guide>
        <p15:guide id="5" pos="3764">
          <p15:clr>
            <a:srgbClr val="A4A3A4"/>
          </p15:clr>
        </p15:guide>
        <p15:guide id="8" pos="158">
          <p15:clr>
            <a:srgbClr val="F26B43"/>
          </p15:clr>
        </p15:guide>
        <p15:guide id="9" orient="horz" pos="4093">
          <p15:clr>
            <a:srgbClr val="F26B43"/>
          </p15:clr>
        </p15:guide>
        <p15:guide id="10" orient="horz" pos="986">
          <p15:clr>
            <a:srgbClr val="F26B43"/>
          </p15:clr>
        </p15:guide>
        <p15:guide id="11" orient="horz" pos="1303">
          <p15:clr>
            <a:srgbClr val="F26B43"/>
          </p15:clr>
        </p15:guide>
        <p15:guide id="12" orient="horz" pos="1575">
          <p15:clr>
            <a:srgbClr val="F26B43"/>
          </p15:clr>
        </p15:guide>
        <p15:guide id="13" orient="horz" pos="2823">
          <p15:clr>
            <a:srgbClr val="A4A3A4"/>
          </p15:clr>
        </p15:guide>
        <p15:guide id="0" pos="73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tags" Target="../tags/tag48.xml"/><Relationship Id="rId7" Type="http://schemas.openxmlformats.org/officeDocument/2006/relationships/image" Target="../media/image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object 189">
            <a:extLst>
              <a:ext uri="{FF2B5EF4-FFF2-40B4-BE49-F238E27FC236}">
                <a16:creationId xmlns:a16="http://schemas.microsoft.com/office/drawing/2014/main" id="{1AE2A353-01E7-4D94-9597-01A8C7625593}"/>
              </a:ext>
            </a:extLst>
          </p:cNvPr>
          <p:cNvSpPr/>
          <p:nvPr/>
        </p:nvSpPr>
        <p:spPr>
          <a:xfrm>
            <a:off x="4533094" y="4446921"/>
            <a:ext cx="2157307" cy="171727"/>
          </a:xfrm>
          <a:custGeom>
            <a:avLst/>
            <a:gdLst/>
            <a:ahLst/>
            <a:cxnLst/>
            <a:rect l="l" t="t" r="r" b="b"/>
            <a:pathLst>
              <a:path w="2668904" h="102235">
                <a:moveTo>
                  <a:pt x="2610358" y="0"/>
                </a:moveTo>
                <a:lnTo>
                  <a:pt x="0" y="0"/>
                </a:lnTo>
                <a:lnTo>
                  <a:pt x="0" y="102158"/>
                </a:lnTo>
                <a:lnTo>
                  <a:pt x="2610358" y="102158"/>
                </a:lnTo>
                <a:lnTo>
                  <a:pt x="2668498" y="51079"/>
                </a:lnTo>
                <a:lnTo>
                  <a:pt x="2610358" y="0"/>
                </a:lnTo>
                <a:close/>
              </a:path>
            </a:pathLst>
          </a:custGeom>
          <a:solidFill>
            <a:srgbClr val="B9E0F7"/>
          </a:solidFill>
        </p:spPr>
        <p:txBody>
          <a:bodyPr wrap="square" lIns="0" tIns="0" rIns="0" bIns="0" rtlCol="0"/>
          <a:lstStyle/>
          <a:p>
            <a:pPr defTabSz="1194198"/>
            <a:endParaRPr lang="en-US" sz="2351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107" name="object 189">
            <a:extLst>
              <a:ext uri="{FF2B5EF4-FFF2-40B4-BE49-F238E27FC236}">
                <a16:creationId xmlns:a16="http://schemas.microsoft.com/office/drawing/2014/main" id="{F295F1B2-4E1D-4D20-B36C-8D4A81054FF2}"/>
              </a:ext>
            </a:extLst>
          </p:cNvPr>
          <p:cNvSpPr/>
          <p:nvPr/>
        </p:nvSpPr>
        <p:spPr>
          <a:xfrm>
            <a:off x="2505190" y="3986677"/>
            <a:ext cx="3789688" cy="191580"/>
          </a:xfrm>
          <a:custGeom>
            <a:avLst/>
            <a:gdLst/>
            <a:ahLst/>
            <a:cxnLst/>
            <a:rect l="l" t="t" r="r" b="b"/>
            <a:pathLst>
              <a:path w="2668904" h="102235">
                <a:moveTo>
                  <a:pt x="2610358" y="0"/>
                </a:moveTo>
                <a:lnTo>
                  <a:pt x="0" y="0"/>
                </a:lnTo>
                <a:lnTo>
                  <a:pt x="0" y="102158"/>
                </a:lnTo>
                <a:lnTo>
                  <a:pt x="2610358" y="102158"/>
                </a:lnTo>
                <a:lnTo>
                  <a:pt x="2668498" y="51079"/>
                </a:lnTo>
                <a:lnTo>
                  <a:pt x="2610358" y="0"/>
                </a:lnTo>
                <a:close/>
              </a:path>
            </a:pathLst>
          </a:custGeom>
          <a:solidFill>
            <a:srgbClr val="B9E0F7"/>
          </a:solidFill>
        </p:spPr>
        <p:txBody>
          <a:bodyPr wrap="square" lIns="0" tIns="0" rIns="0" bIns="0" rtlCol="0"/>
          <a:lstStyle/>
          <a:p>
            <a:pPr defTabSz="1194198"/>
            <a:endParaRPr lang="en-US" sz="2351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110" name="object 193">
            <a:extLst>
              <a:ext uri="{FF2B5EF4-FFF2-40B4-BE49-F238E27FC236}">
                <a16:creationId xmlns:a16="http://schemas.microsoft.com/office/drawing/2014/main" id="{52640B4C-5631-4779-9E1F-B4AD220536C6}"/>
              </a:ext>
            </a:extLst>
          </p:cNvPr>
          <p:cNvSpPr/>
          <p:nvPr/>
        </p:nvSpPr>
        <p:spPr>
          <a:xfrm>
            <a:off x="2270372" y="3770877"/>
            <a:ext cx="3734215" cy="204777"/>
          </a:xfrm>
          <a:custGeom>
            <a:avLst/>
            <a:gdLst/>
            <a:ahLst/>
            <a:cxnLst/>
            <a:rect l="l" t="t" r="r" b="b"/>
            <a:pathLst>
              <a:path w="2841625" h="102235">
                <a:moveTo>
                  <a:pt x="2783141" y="0"/>
                </a:moveTo>
                <a:lnTo>
                  <a:pt x="0" y="0"/>
                </a:lnTo>
                <a:lnTo>
                  <a:pt x="0" y="102158"/>
                </a:lnTo>
                <a:lnTo>
                  <a:pt x="2783141" y="102158"/>
                </a:lnTo>
                <a:lnTo>
                  <a:pt x="2841269" y="51079"/>
                </a:lnTo>
                <a:lnTo>
                  <a:pt x="2783141" y="0"/>
                </a:lnTo>
                <a:close/>
              </a:path>
            </a:pathLst>
          </a:custGeom>
          <a:solidFill>
            <a:srgbClr val="00A1E4"/>
          </a:solidFill>
        </p:spPr>
        <p:txBody>
          <a:bodyPr wrap="square" lIns="0" tIns="0" rIns="0" bIns="0" rtlCol="0"/>
          <a:lstStyle/>
          <a:p>
            <a:pPr defTabSz="1194198"/>
            <a:endParaRPr lang="en-US" sz="2351" dirty="0">
              <a:solidFill>
                <a:srgbClr val="000000"/>
              </a:solidFill>
              <a:latin typeface="MetaPlusLF"/>
            </a:endParaRPr>
          </a:p>
        </p:txBody>
      </p:sp>
      <p:sp>
        <p:nvSpPr>
          <p:cNvPr id="102" name="Rettangolo 101">
            <a:extLst>
              <a:ext uri="{FF2B5EF4-FFF2-40B4-BE49-F238E27FC236}">
                <a16:creationId xmlns:a16="http://schemas.microsoft.com/office/drawing/2014/main" id="{2300C760-4B78-4839-A234-750C7E113F8B}"/>
              </a:ext>
            </a:extLst>
          </p:cNvPr>
          <p:cNvSpPr/>
          <p:nvPr/>
        </p:nvSpPr>
        <p:spPr>
          <a:xfrm>
            <a:off x="2132839" y="3239763"/>
            <a:ext cx="3482854" cy="19515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30" tIns="44815" rIns="89630" bIns="448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68" dirty="0"/>
          </a:p>
        </p:txBody>
      </p:sp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463ECB4D-683F-4754-8C9C-7F6D3D2D86A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7930" y="5159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5" imgW="277" imgH="277" progId="TCLayout.ActiveDocument.1">
                  <p:embed/>
                </p:oleObj>
              </mc:Choice>
              <mc:Fallback>
                <p:oleObj name="think-cell Folie" r:id="rId5" imgW="277" imgH="277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463ECB4D-683F-4754-8C9C-7F6D3D2D8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930" y="5159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74EF8260-FB57-44B4-B2F1-86E4698CE99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8075" y="1567910"/>
            <a:ext cx="11435848" cy="50346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5pPr>
            <a:lvl6pPr marL="457159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6pPr>
            <a:lvl7pPr marL="914316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7pPr>
            <a:lvl8pPr marL="1371475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8pPr>
            <a:lvl9pPr marL="1828634" algn="l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MetaPlusLF" pitchFamily="2" charset="0"/>
              </a:defRPr>
            </a:lvl9pPr>
          </a:lstStyle>
          <a:p>
            <a:r>
              <a:rPr lang="en-GB" sz="2098" dirty="0"/>
              <a:t>CPX</a:t>
            </a:r>
            <a:r>
              <a:rPr lang="en-US" sz="2098" dirty="0"/>
              <a:t> | </a:t>
            </a:r>
            <a:r>
              <a:rPr lang="en-GB" sz="2098" dirty="0"/>
              <a:t>VTSA-CB configuration in TIA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E2762DAF-F63A-4277-BD59-3FD433BCB307}"/>
              </a:ext>
            </a:extLst>
          </p:cNvPr>
          <p:cNvSpPr txBox="1">
            <a:spLocks/>
          </p:cNvSpPr>
          <p:nvPr/>
        </p:nvSpPr>
        <p:spPr>
          <a:xfrm>
            <a:off x="276362" y="2001641"/>
            <a:ext cx="5339330" cy="391259"/>
          </a:xfrm>
          <a:prstGeom prst="rect">
            <a:avLst/>
          </a:prstGeom>
        </p:spPr>
        <p:txBody>
          <a:bodyPr/>
          <a:lstStyle>
            <a:lvl1pPr marL="342869" indent="-34286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MetaPlusLF" pitchFamily="2" charset="0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882" indent="-285724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96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55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14" indent="-228579" algn="l" rtl="0" eaLnBrk="1" fontAlgn="base" hangingPunct="1">
              <a:lnSpc>
                <a:spcPts val="2100"/>
              </a:lnSpc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71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30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89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48" indent="-228579" algn="l" defTabSz="91431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764" b="1" dirty="0"/>
              <a:t>Terminal configuration – Zone and standard valves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9989B669-2F18-4466-BA67-B6171DFACB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25297" y="1451356"/>
            <a:ext cx="4944410" cy="4042543"/>
          </a:xfrm>
          <a:prstGeom prst="rect">
            <a:avLst/>
          </a:prstGeom>
        </p:spPr>
      </p:pic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35587DFF-397B-4AEA-B170-25C5349961FD}"/>
              </a:ext>
            </a:extLst>
          </p:cNvPr>
          <p:cNvGrpSpPr>
            <a:grpSpLocks noChangeAspect="1"/>
          </p:cNvGrpSpPr>
          <p:nvPr/>
        </p:nvGrpSpPr>
        <p:grpSpPr>
          <a:xfrm>
            <a:off x="525464" y="4693490"/>
            <a:ext cx="3591153" cy="1795071"/>
            <a:chOff x="3311054" y="3581341"/>
            <a:chExt cx="5194984" cy="2596756"/>
          </a:xfrm>
        </p:grpSpPr>
        <p:sp>
          <p:nvSpPr>
            <p:cNvPr id="22" name="object 162">
              <a:extLst>
                <a:ext uri="{FF2B5EF4-FFF2-40B4-BE49-F238E27FC236}">
                  <a16:creationId xmlns:a16="http://schemas.microsoft.com/office/drawing/2014/main" id="{44CE6FC1-86F9-470B-B640-A548841BC2F5}"/>
                </a:ext>
              </a:extLst>
            </p:cNvPr>
            <p:cNvSpPr/>
            <p:nvPr/>
          </p:nvSpPr>
          <p:spPr>
            <a:xfrm>
              <a:off x="7432863" y="3602037"/>
              <a:ext cx="363383" cy="2563689"/>
            </a:xfrm>
            <a:prstGeom prst="rect">
              <a:avLst/>
            </a:prstGeom>
            <a:blipFill>
              <a:blip r:embed="rId8" cstate="print"/>
              <a:stretch>
                <a:fillRect l="-1" r="-641681"/>
              </a:stretch>
            </a:blip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3" name="object 163">
              <a:extLst>
                <a:ext uri="{FF2B5EF4-FFF2-40B4-BE49-F238E27FC236}">
                  <a16:creationId xmlns:a16="http://schemas.microsoft.com/office/drawing/2014/main" id="{3B9C6176-7D7D-4AE0-9F87-EC13B5A6F320}"/>
                </a:ext>
              </a:extLst>
            </p:cNvPr>
            <p:cNvSpPr/>
            <p:nvPr/>
          </p:nvSpPr>
          <p:spPr>
            <a:xfrm>
              <a:off x="3311054" y="3581341"/>
              <a:ext cx="4129390" cy="2596756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4" name="object 177">
              <a:extLst>
                <a:ext uri="{FF2B5EF4-FFF2-40B4-BE49-F238E27FC236}">
                  <a16:creationId xmlns:a16="http://schemas.microsoft.com/office/drawing/2014/main" id="{D90E7230-D957-45E2-8436-26BECB8C26D0}"/>
                </a:ext>
              </a:extLst>
            </p:cNvPr>
            <p:cNvSpPr/>
            <p:nvPr/>
          </p:nvSpPr>
          <p:spPr>
            <a:xfrm>
              <a:off x="8459048" y="3676756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25" name="object 178">
              <a:extLst>
                <a:ext uri="{FF2B5EF4-FFF2-40B4-BE49-F238E27FC236}">
                  <a16:creationId xmlns:a16="http://schemas.microsoft.com/office/drawing/2014/main" id="{D8C3E0E6-8AF9-4709-928A-33E0DECC1798}"/>
                </a:ext>
              </a:extLst>
            </p:cNvPr>
            <p:cNvSpPr/>
            <p:nvPr/>
          </p:nvSpPr>
          <p:spPr>
            <a:xfrm>
              <a:off x="7044255" y="3676756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A11D6575-954C-4C5D-92B4-D328CA770734}"/>
              </a:ext>
            </a:extLst>
          </p:cNvPr>
          <p:cNvGrpSpPr>
            <a:grpSpLocks noChangeAspect="1"/>
          </p:cNvGrpSpPr>
          <p:nvPr/>
        </p:nvGrpSpPr>
        <p:grpSpPr>
          <a:xfrm>
            <a:off x="182335" y="4684939"/>
            <a:ext cx="3591154" cy="1795071"/>
            <a:chOff x="3311054" y="3581341"/>
            <a:chExt cx="5194984" cy="2596755"/>
          </a:xfrm>
        </p:grpSpPr>
        <p:sp>
          <p:nvSpPr>
            <p:cNvPr id="29" name="object 163">
              <a:extLst>
                <a:ext uri="{FF2B5EF4-FFF2-40B4-BE49-F238E27FC236}">
                  <a16:creationId xmlns:a16="http://schemas.microsoft.com/office/drawing/2014/main" id="{9D56054C-B28C-4693-BC65-A0A826066488}"/>
                </a:ext>
              </a:extLst>
            </p:cNvPr>
            <p:cNvSpPr/>
            <p:nvPr/>
          </p:nvSpPr>
          <p:spPr>
            <a:xfrm>
              <a:off x="3311054" y="3581341"/>
              <a:ext cx="1730684" cy="2596755"/>
            </a:xfrm>
            <a:prstGeom prst="rect">
              <a:avLst/>
            </a:prstGeom>
            <a:blipFill>
              <a:blip r:embed="rId9" cstate="print"/>
              <a:stretch>
                <a:fillRect l="-1" r="-138598"/>
              </a:stretch>
            </a:blip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30" name="object 177">
              <a:extLst>
                <a:ext uri="{FF2B5EF4-FFF2-40B4-BE49-F238E27FC236}">
                  <a16:creationId xmlns:a16="http://schemas.microsoft.com/office/drawing/2014/main" id="{B7AFB68D-2FCB-432D-A526-D9DF686D636A}"/>
                </a:ext>
              </a:extLst>
            </p:cNvPr>
            <p:cNvSpPr/>
            <p:nvPr/>
          </p:nvSpPr>
          <p:spPr>
            <a:xfrm>
              <a:off x="8459048" y="3676756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  <p:sp>
          <p:nvSpPr>
            <p:cNvPr id="31" name="object 178">
              <a:extLst>
                <a:ext uri="{FF2B5EF4-FFF2-40B4-BE49-F238E27FC236}">
                  <a16:creationId xmlns:a16="http://schemas.microsoft.com/office/drawing/2014/main" id="{BF9B0CBD-4099-413B-A776-56E582C75D40}"/>
                </a:ext>
              </a:extLst>
            </p:cNvPr>
            <p:cNvSpPr/>
            <p:nvPr/>
          </p:nvSpPr>
          <p:spPr>
            <a:xfrm>
              <a:off x="7044255" y="3676756"/>
              <a:ext cx="46990" cy="46990"/>
            </a:xfrm>
            <a:custGeom>
              <a:avLst/>
              <a:gdLst/>
              <a:ahLst/>
              <a:cxnLst/>
              <a:rect l="l" t="t" r="r" b="b"/>
              <a:pathLst>
                <a:path w="46990" h="46989">
                  <a:moveTo>
                    <a:pt x="0" y="46799"/>
                  </a:moveTo>
                  <a:lnTo>
                    <a:pt x="46799" y="46799"/>
                  </a:lnTo>
                  <a:lnTo>
                    <a:pt x="46799" y="0"/>
                  </a:lnTo>
                  <a:lnTo>
                    <a:pt x="0" y="0"/>
                  </a:lnTo>
                  <a:lnTo>
                    <a:pt x="0" y="46799"/>
                  </a:lnTo>
                  <a:close/>
                </a:path>
              </a:pathLst>
            </a:custGeom>
            <a:solidFill>
              <a:srgbClr val="00A1E4"/>
            </a:solidFill>
          </p:spPr>
          <p:txBody>
            <a:bodyPr wrap="square" lIns="0" tIns="0" rIns="0" bIns="0" rtlCol="0"/>
            <a:lstStyle/>
            <a:p>
              <a:pPr defTabSz="1194249"/>
              <a:endParaRPr sz="2351">
                <a:solidFill>
                  <a:srgbClr val="000000"/>
                </a:solidFill>
                <a:latin typeface="MetaPlusLF"/>
              </a:endParaRPr>
            </a:p>
          </p:txBody>
        </p:sp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EDDED5C6-9EB3-4D4C-851D-D675F9CA8C8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72624" b="14689"/>
          <a:stretch/>
        </p:blipFill>
        <p:spPr>
          <a:xfrm>
            <a:off x="4678586" y="4637381"/>
            <a:ext cx="1204025" cy="1689388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0DD089A-7DB5-4348-868F-2FBAD3B25615}"/>
              </a:ext>
            </a:extLst>
          </p:cNvPr>
          <p:cNvCxnSpPr/>
          <p:nvPr/>
        </p:nvCxnSpPr>
        <p:spPr>
          <a:xfrm flipH="1">
            <a:off x="1195442" y="2930235"/>
            <a:ext cx="569399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BBF3574-DBE7-4949-88BC-621528A0F716}"/>
              </a:ext>
            </a:extLst>
          </p:cNvPr>
          <p:cNvCxnSpPr>
            <a:cxnSpLocks/>
          </p:cNvCxnSpPr>
          <p:nvPr/>
        </p:nvCxnSpPr>
        <p:spPr>
          <a:xfrm flipH="1">
            <a:off x="1528370" y="3082473"/>
            <a:ext cx="536106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EE06E732-A5D9-464F-BC23-F05B19D63936}"/>
              </a:ext>
            </a:extLst>
          </p:cNvPr>
          <p:cNvCxnSpPr>
            <a:cxnSpLocks/>
          </p:cNvCxnSpPr>
          <p:nvPr/>
        </p:nvCxnSpPr>
        <p:spPr>
          <a:xfrm flipH="1">
            <a:off x="1869909" y="3407224"/>
            <a:ext cx="501248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0ED7EEF4-80C7-4DB1-BD79-B5255713EE36}"/>
              </a:ext>
            </a:extLst>
          </p:cNvPr>
          <p:cNvCxnSpPr>
            <a:cxnSpLocks/>
          </p:cNvCxnSpPr>
          <p:nvPr/>
        </p:nvCxnSpPr>
        <p:spPr>
          <a:xfrm>
            <a:off x="1195441" y="2930234"/>
            <a:ext cx="0" cy="175394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F251537D-69C2-46C2-907C-C74DB98F253E}"/>
              </a:ext>
            </a:extLst>
          </p:cNvPr>
          <p:cNvCxnSpPr>
            <a:cxnSpLocks/>
          </p:cNvCxnSpPr>
          <p:nvPr/>
        </p:nvCxnSpPr>
        <p:spPr>
          <a:xfrm>
            <a:off x="1509492" y="3077425"/>
            <a:ext cx="0" cy="160675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2DB1A7B1-FF72-4769-ADC1-455669DDFBC6}"/>
              </a:ext>
            </a:extLst>
          </p:cNvPr>
          <p:cNvCxnSpPr>
            <a:cxnSpLocks/>
          </p:cNvCxnSpPr>
          <p:nvPr/>
        </p:nvCxnSpPr>
        <p:spPr>
          <a:xfrm>
            <a:off x="1869909" y="3407225"/>
            <a:ext cx="0" cy="1341360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BED6F6EE-12DE-4C28-BCC9-F608DE841DC4}"/>
              </a:ext>
            </a:extLst>
          </p:cNvPr>
          <p:cNvCxnSpPr>
            <a:cxnSpLocks/>
          </p:cNvCxnSpPr>
          <p:nvPr/>
        </p:nvCxnSpPr>
        <p:spPr>
          <a:xfrm>
            <a:off x="2191630" y="3960472"/>
            <a:ext cx="6099" cy="747325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AFB75E78-1C4F-4C76-AF2B-69743E6835CD}"/>
              </a:ext>
            </a:extLst>
          </p:cNvPr>
          <p:cNvCxnSpPr>
            <a:cxnSpLocks/>
          </p:cNvCxnSpPr>
          <p:nvPr/>
        </p:nvCxnSpPr>
        <p:spPr>
          <a:xfrm flipH="1" flipV="1">
            <a:off x="6531317" y="4163235"/>
            <a:ext cx="393981" cy="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>
            <a:extLst>
              <a:ext uri="{FF2B5EF4-FFF2-40B4-BE49-F238E27FC236}">
                <a16:creationId xmlns:a16="http://schemas.microsoft.com/office/drawing/2014/main" id="{7034FAE7-C628-4A84-B329-9FBF2D8B4905}"/>
              </a:ext>
            </a:extLst>
          </p:cNvPr>
          <p:cNvCxnSpPr>
            <a:cxnSpLocks/>
          </p:cNvCxnSpPr>
          <p:nvPr/>
        </p:nvCxnSpPr>
        <p:spPr>
          <a:xfrm>
            <a:off x="2406595" y="4143213"/>
            <a:ext cx="0" cy="59863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0EB869A2-AE54-4BFC-92D1-6BD56CADEFFA}"/>
              </a:ext>
            </a:extLst>
          </p:cNvPr>
          <p:cNvCxnSpPr>
            <a:cxnSpLocks/>
          </p:cNvCxnSpPr>
          <p:nvPr/>
        </p:nvCxnSpPr>
        <p:spPr>
          <a:xfrm flipH="1">
            <a:off x="6462578" y="4357995"/>
            <a:ext cx="47314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09E14510-1E02-4A08-BCA8-E77FA9CC956A}"/>
              </a:ext>
            </a:extLst>
          </p:cNvPr>
          <p:cNvCxnSpPr>
            <a:cxnSpLocks/>
          </p:cNvCxnSpPr>
          <p:nvPr/>
        </p:nvCxnSpPr>
        <p:spPr>
          <a:xfrm>
            <a:off x="1958495" y="3574687"/>
            <a:ext cx="485456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884D86F9-EACF-4C5C-B2AB-425C46C47E2A}"/>
              </a:ext>
            </a:extLst>
          </p:cNvPr>
          <p:cNvCxnSpPr>
            <a:cxnSpLocks/>
          </p:cNvCxnSpPr>
          <p:nvPr/>
        </p:nvCxnSpPr>
        <p:spPr>
          <a:xfrm flipH="1">
            <a:off x="1942553" y="3574687"/>
            <a:ext cx="6397" cy="1173898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feld 66">
            <a:extLst>
              <a:ext uri="{FF2B5EF4-FFF2-40B4-BE49-F238E27FC236}">
                <a16:creationId xmlns:a16="http://schemas.microsoft.com/office/drawing/2014/main" id="{27331E83-4F81-4136-B8DE-9121D269BEF0}"/>
              </a:ext>
            </a:extLst>
          </p:cNvPr>
          <p:cNvSpPr txBox="1"/>
          <p:nvPr/>
        </p:nvSpPr>
        <p:spPr>
          <a:xfrm>
            <a:off x="1195441" y="2739537"/>
            <a:ext cx="674469" cy="2489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I3.x…..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5BC24DC5-4794-44C3-8EE8-7539B9889AEF}"/>
              </a:ext>
            </a:extLst>
          </p:cNvPr>
          <p:cNvSpPr txBox="1"/>
          <p:nvPr/>
        </p:nvSpPr>
        <p:spPr>
          <a:xfrm>
            <a:off x="1685278" y="2901845"/>
            <a:ext cx="744925" cy="2489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I10.x…..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6E4AE688-5642-4504-BFA3-FCF8420A14F6}"/>
              </a:ext>
            </a:extLst>
          </p:cNvPr>
          <p:cNvSpPr txBox="1"/>
          <p:nvPr/>
        </p:nvSpPr>
        <p:spPr>
          <a:xfrm>
            <a:off x="2126828" y="3226669"/>
            <a:ext cx="3493263" cy="244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99" b="1" dirty="0"/>
              <a:t>Profisafe - Zone1: %Q17.0    Zone2: %Q17.1    Zone3: %Q17.2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58512EBF-9A53-45C8-BB39-F1DB95211EEA}"/>
              </a:ext>
            </a:extLst>
          </p:cNvPr>
          <p:cNvSpPr txBox="1"/>
          <p:nvPr/>
        </p:nvSpPr>
        <p:spPr>
          <a:xfrm>
            <a:off x="2271217" y="3748942"/>
            <a:ext cx="3486977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Channel </a:t>
            </a:r>
            <a:r>
              <a:rPr lang="de-DE" sz="999" b="1" dirty="0" err="1"/>
              <a:t>duct</a:t>
            </a:r>
            <a:r>
              <a:rPr lang="de-DE" sz="999" b="1" dirty="0"/>
              <a:t> 1 - </a:t>
            </a:r>
            <a:r>
              <a:rPr lang="de-DE" sz="999" b="1" dirty="0" err="1"/>
              <a:t>coil</a:t>
            </a:r>
            <a:r>
              <a:rPr lang="de-DE" sz="999" b="1" dirty="0"/>
              <a:t> 14: %Q2.0            </a:t>
            </a:r>
            <a:r>
              <a:rPr lang="de-DE" sz="999" b="1" dirty="0" err="1"/>
              <a:t>Pressure</a:t>
            </a:r>
            <a:r>
              <a:rPr lang="de-DE" sz="999" b="1" dirty="0"/>
              <a:t> switch: %I9.0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B8D4CD55-9371-4A4D-9B72-9300F37DCEC3}"/>
              </a:ext>
            </a:extLst>
          </p:cNvPr>
          <p:cNvSpPr txBox="1"/>
          <p:nvPr/>
        </p:nvSpPr>
        <p:spPr>
          <a:xfrm>
            <a:off x="2459560" y="3943589"/>
            <a:ext cx="3711671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Channel </a:t>
            </a:r>
            <a:r>
              <a:rPr lang="de-DE" sz="999" b="1" dirty="0" err="1"/>
              <a:t>duct</a:t>
            </a:r>
            <a:r>
              <a:rPr lang="de-DE" sz="999" b="1" dirty="0"/>
              <a:t> 14 – </a:t>
            </a:r>
            <a:r>
              <a:rPr lang="de-DE" sz="999" b="1" dirty="0" err="1"/>
              <a:t>coil</a:t>
            </a:r>
            <a:r>
              <a:rPr lang="de-DE" sz="999" b="1" dirty="0"/>
              <a:t> 14: %Q26.0            </a:t>
            </a:r>
            <a:r>
              <a:rPr lang="de-DE" sz="999" b="1" dirty="0" err="1"/>
              <a:t>Pressure</a:t>
            </a:r>
            <a:r>
              <a:rPr lang="de-DE" sz="999" b="1" dirty="0"/>
              <a:t> switch: %I16.0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66B9EDC2-1F76-4B90-B3CC-CEF584E4A4F8}"/>
              </a:ext>
            </a:extLst>
          </p:cNvPr>
          <p:cNvSpPr txBox="1"/>
          <p:nvPr/>
        </p:nvSpPr>
        <p:spPr>
          <a:xfrm rot="16200000">
            <a:off x="2199545" y="5362703"/>
            <a:ext cx="745099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3.0/1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B89DF2E5-9043-4B25-A272-96D84FB22FA7}"/>
              </a:ext>
            </a:extLst>
          </p:cNvPr>
          <p:cNvSpPr txBox="1"/>
          <p:nvPr/>
        </p:nvSpPr>
        <p:spPr>
          <a:xfrm>
            <a:off x="2322129" y="5993471"/>
            <a:ext cx="1146468" cy="2460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3.0…%Q25.7</a:t>
            </a: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259133ED-B275-4ED4-8399-F29185815A37}"/>
              </a:ext>
            </a:extLst>
          </p:cNvPr>
          <p:cNvCxnSpPr>
            <a:cxnSpLocks/>
          </p:cNvCxnSpPr>
          <p:nvPr/>
        </p:nvCxnSpPr>
        <p:spPr>
          <a:xfrm flipH="1">
            <a:off x="3518186" y="4415678"/>
            <a:ext cx="330897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mit Pfeil 90">
            <a:extLst>
              <a:ext uri="{FF2B5EF4-FFF2-40B4-BE49-F238E27FC236}">
                <a16:creationId xmlns:a16="http://schemas.microsoft.com/office/drawing/2014/main" id="{85A397A6-75DF-431F-A355-AE74A7B51874}"/>
              </a:ext>
            </a:extLst>
          </p:cNvPr>
          <p:cNvCxnSpPr>
            <a:cxnSpLocks/>
          </p:cNvCxnSpPr>
          <p:nvPr/>
        </p:nvCxnSpPr>
        <p:spPr>
          <a:xfrm>
            <a:off x="3518185" y="4415678"/>
            <a:ext cx="0" cy="41385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feld 92">
            <a:extLst>
              <a:ext uri="{FF2B5EF4-FFF2-40B4-BE49-F238E27FC236}">
                <a16:creationId xmlns:a16="http://schemas.microsoft.com/office/drawing/2014/main" id="{E224BCDE-411A-4C7E-B032-A5AB6D64F288}"/>
              </a:ext>
            </a:extLst>
          </p:cNvPr>
          <p:cNvSpPr txBox="1"/>
          <p:nvPr/>
        </p:nvSpPr>
        <p:spPr>
          <a:xfrm>
            <a:off x="3102398" y="3381504"/>
            <a:ext cx="1936128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24 </a:t>
            </a:r>
            <a:r>
              <a:rPr lang="de-DE" sz="999" b="1" dirty="0" err="1"/>
              <a:t>coils</a:t>
            </a:r>
            <a:r>
              <a:rPr lang="de-DE" sz="999" b="1" dirty="0"/>
              <a:t> </a:t>
            </a:r>
            <a:r>
              <a:rPr lang="de-DE" sz="999" b="1" dirty="0" err="1"/>
              <a:t>valve</a:t>
            </a:r>
            <a:r>
              <a:rPr lang="de-DE" sz="999" b="1" dirty="0"/>
              <a:t>: %Q23.0……Q25.7</a:t>
            </a:r>
          </a:p>
        </p:txBody>
      </p:sp>
      <p:sp>
        <p:nvSpPr>
          <p:cNvPr id="94" name="Textfeld 93">
            <a:extLst>
              <a:ext uri="{FF2B5EF4-FFF2-40B4-BE49-F238E27FC236}">
                <a16:creationId xmlns:a16="http://schemas.microsoft.com/office/drawing/2014/main" id="{7E07C28B-5998-47EF-84DD-CE976FCD39E1}"/>
              </a:ext>
            </a:extLst>
          </p:cNvPr>
          <p:cNvSpPr txBox="1"/>
          <p:nvPr/>
        </p:nvSpPr>
        <p:spPr>
          <a:xfrm>
            <a:off x="3613776" y="4227293"/>
            <a:ext cx="1943983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24 </a:t>
            </a:r>
            <a:r>
              <a:rPr lang="de-DE" sz="999" b="1" dirty="0" err="1"/>
              <a:t>coils</a:t>
            </a:r>
            <a:r>
              <a:rPr lang="de-DE" sz="999" b="1" dirty="0"/>
              <a:t> </a:t>
            </a:r>
            <a:r>
              <a:rPr lang="de-DE" sz="999" b="1" dirty="0" err="1"/>
              <a:t>valve</a:t>
            </a:r>
            <a:r>
              <a:rPr lang="de-DE" sz="999" b="1" dirty="0"/>
              <a:t>: %Q27.0……Q29.7</a:t>
            </a:r>
          </a:p>
        </p:txBody>
      </p:sp>
      <p:sp>
        <p:nvSpPr>
          <p:cNvPr id="95" name="object 163">
            <a:extLst>
              <a:ext uri="{FF2B5EF4-FFF2-40B4-BE49-F238E27FC236}">
                <a16:creationId xmlns:a16="http://schemas.microsoft.com/office/drawing/2014/main" id="{3755CF62-52A8-49D5-B29C-A4C3A615E002}"/>
              </a:ext>
            </a:extLst>
          </p:cNvPr>
          <p:cNvSpPr/>
          <p:nvPr/>
        </p:nvSpPr>
        <p:spPr>
          <a:xfrm>
            <a:off x="3622225" y="4672280"/>
            <a:ext cx="1056362" cy="1795071"/>
          </a:xfrm>
          <a:prstGeom prst="rect">
            <a:avLst/>
          </a:prstGeom>
          <a:blipFill>
            <a:blip r:embed="rId9" cstate="print"/>
            <a:stretch>
              <a:fillRect l="-170226" r="3"/>
            </a:stretch>
          </a:blipFill>
        </p:spPr>
        <p:txBody>
          <a:bodyPr wrap="square" lIns="0" tIns="0" rIns="0" bIns="0" rtlCol="0"/>
          <a:lstStyle/>
          <a:p>
            <a:pPr defTabSz="1194249"/>
            <a:endParaRPr sz="2351">
              <a:solidFill>
                <a:srgbClr val="000000"/>
              </a:solidFill>
              <a:latin typeface="MetaPlusLF"/>
            </a:endParaRPr>
          </a:p>
        </p:txBody>
      </p: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19D1C011-5DE1-48BA-ACA5-AE8798206702}"/>
              </a:ext>
            </a:extLst>
          </p:cNvPr>
          <p:cNvCxnSpPr>
            <a:cxnSpLocks/>
          </p:cNvCxnSpPr>
          <p:nvPr/>
        </p:nvCxnSpPr>
        <p:spPr>
          <a:xfrm flipH="1">
            <a:off x="3727586" y="4588390"/>
            <a:ext cx="2962815" cy="8245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mit Pfeil 96">
            <a:extLst>
              <a:ext uri="{FF2B5EF4-FFF2-40B4-BE49-F238E27FC236}">
                <a16:creationId xmlns:a16="http://schemas.microsoft.com/office/drawing/2014/main" id="{B813DFDF-5EE8-49EF-B3A6-42269130A6BE}"/>
              </a:ext>
            </a:extLst>
          </p:cNvPr>
          <p:cNvCxnSpPr>
            <a:cxnSpLocks/>
          </p:cNvCxnSpPr>
          <p:nvPr/>
        </p:nvCxnSpPr>
        <p:spPr>
          <a:xfrm>
            <a:off x="3723566" y="4603233"/>
            <a:ext cx="0" cy="145352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46D49310-B41C-45C3-B37B-5C2800971DD1}"/>
              </a:ext>
            </a:extLst>
          </p:cNvPr>
          <p:cNvCxnSpPr>
            <a:cxnSpLocks/>
          </p:cNvCxnSpPr>
          <p:nvPr/>
        </p:nvCxnSpPr>
        <p:spPr>
          <a:xfrm>
            <a:off x="6690401" y="4596873"/>
            <a:ext cx="0" cy="5652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E3D06D68-E844-44BA-B8BD-288963268CF9}"/>
              </a:ext>
            </a:extLst>
          </p:cNvPr>
          <p:cNvCxnSpPr>
            <a:cxnSpLocks/>
          </p:cNvCxnSpPr>
          <p:nvPr/>
        </p:nvCxnSpPr>
        <p:spPr>
          <a:xfrm flipH="1">
            <a:off x="6690402" y="5162161"/>
            <a:ext cx="245322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feld 104">
            <a:extLst>
              <a:ext uri="{FF2B5EF4-FFF2-40B4-BE49-F238E27FC236}">
                <a16:creationId xmlns:a16="http://schemas.microsoft.com/office/drawing/2014/main" id="{0EDE00EC-4518-4933-BB59-77A582EE9262}"/>
              </a:ext>
            </a:extLst>
          </p:cNvPr>
          <p:cNvSpPr txBox="1"/>
          <p:nvPr/>
        </p:nvSpPr>
        <p:spPr>
          <a:xfrm>
            <a:off x="4574794" y="4393959"/>
            <a:ext cx="2133045" cy="3998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99" b="1" dirty="0"/>
              <a:t>Channel </a:t>
            </a:r>
            <a:r>
              <a:rPr lang="de-DE" sz="999" b="1" dirty="0" err="1"/>
              <a:t>duct</a:t>
            </a:r>
            <a:r>
              <a:rPr lang="de-DE" sz="999" b="1" dirty="0"/>
              <a:t> 14 – </a:t>
            </a:r>
            <a:r>
              <a:rPr lang="de-DE" sz="999" b="1" dirty="0" err="1"/>
              <a:t>coil</a:t>
            </a:r>
            <a:r>
              <a:rPr lang="de-DE" sz="999" b="1" dirty="0"/>
              <a:t> 14 : %Q30.0</a:t>
            </a:r>
          </a:p>
          <a:p>
            <a:r>
              <a:rPr lang="de-DE" sz="999" b="1" dirty="0"/>
              <a:t>                    </a:t>
            </a:r>
            <a:r>
              <a:rPr lang="de-DE" sz="999" b="1" dirty="0" err="1"/>
              <a:t>Pressure</a:t>
            </a:r>
            <a:r>
              <a:rPr lang="de-DE" sz="999" b="1" dirty="0"/>
              <a:t> switch: %I23.0</a:t>
            </a:r>
          </a:p>
        </p:txBody>
      </p:sp>
      <p:sp>
        <p:nvSpPr>
          <p:cNvPr id="51" name="Textfeld 73">
            <a:extLst>
              <a:ext uri="{FF2B5EF4-FFF2-40B4-BE49-F238E27FC236}">
                <a16:creationId xmlns:a16="http://schemas.microsoft.com/office/drawing/2014/main" id="{66A6B840-B9B6-4E75-8D77-5B812312268D}"/>
              </a:ext>
            </a:extLst>
          </p:cNvPr>
          <p:cNvSpPr txBox="1"/>
          <p:nvPr/>
        </p:nvSpPr>
        <p:spPr>
          <a:xfrm>
            <a:off x="3591875" y="5993471"/>
            <a:ext cx="1144204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7.0…%Q29.7</a:t>
            </a:r>
          </a:p>
        </p:txBody>
      </p:sp>
      <p:sp>
        <p:nvSpPr>
          <p:cNvPr id="52" name="Textfeld 72">
            <a:extLst>
              <a:ext uri="{FF2B5EF4-FFF2-40B4-BE49-F238E27FC236}">
                <a16:creationId xmlns:a16="http://schemas.microsoft.com/office/drawing/2014/main" id="{14F31E2C-A7EA-4F2C-A98C-2A0E3B1EBC7E}"/>
              </a:ext>
            </a:extLst>
          </p:cNvPr>
          <p:cNvSpPr txBox="1"/>
          <p:nvPr/>
        </p:nvSpPr>
        <p:spPr>
          <a:xfrm rot="16200000">
            <a:off x="3496522" y="5375765"/>
            <a:ext cx="745099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7.0/1</a:t>
            </a:r>
          </a:p>
        </p:txBody>
      </p:sp>
      <p:sp>
        <p:nvSpPr>
          <p:cNvPr id="53" name="Textfeld 72">
            <a:extLst>
              <a:ext uri="{FF2B5EF4-FFF2-40B4-BE49-F238E27FC236}">
                <a16:creationId xmlns:a16="http://schemas.microsoft.com/office/drawing/2014/main" id="{467B07DC-6587-4706-A9C3-670E319079BA}"/>
              </a:ext>
            </a:extLst>
          </p:cNvPr>
          <p:cNvSpPr txBox="1"/>
          <p:nvPr/>
        </p:nvSpPr>
        <p:spPr>
          <a:xfrm rot="16200000">
            <a:off x="1890708" y="5387659"/>
            <a:ext cx="545548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.0</a:t>
            </a:r>
          </a:p>
        </p:txBody>
      </p:sp>
      <p:sp>
        <p:nvSpPr>
          <p:cNvPr id="57" name="Textfeld 72">
            <a:extLst>
              <a:ext uri="{FF2B5EF4-FFF2-40B4-BE49-F238E27FC236}">
                <a16:creationId xmlns:a16="http://schemas.microsoft.com/office/drawing/2014/main" id="{D1365A2F-9F80-4E4D-92D0-49B3611136E8}"/>
              </a:ext>
            </a:extLst>
          </p:cNvPr>
          <p:cNvSpPr txBox="1"/>
          <p:nvPr/>
        </p:nvSpPr>
        <p:spPr>
          <a:xfrm rot="16200000">
            <a:off x="2099254" y="5428302"/>
            <a:ext cx="614684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26.0</a:t>
            </a:r>
          </a:p>
        </p:txBody>
      </p:sp>
      <p:sp>
        <p:nvSpPr>
          <p:cNvPr id="58" name="Textfeld 72">
            <a:extLst>
              <a:ext uri="{FF2B5EF4-FFF2-40B4-BE49-F238E27FC236}">
                <a16:creationId xmlns:a16="http://schemas.microsoft.com/office/drawing/2014/main" id="{097A317B-E029-45CB-873B-97C2750D6E03}"/>
              </a:ext>
            </a:extLst>
          </p:cNvPr>
          <p:cNvSpPr txBox="1"/>
          <p:nvPr/>
        </p:nvSpPr>
        <p:spPr>
          <a:xfrm rot="16200000">
            <a:off x="3395961" y="5396450"/>
            <a:ext cx="614684" cy="2442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99" b="1" dirty="0"/>
              <a:t>%Q30.0</a:t>
            </a:r>
          </a:p>
        </p:txBody>
      </p:sp>
      <p:sp>
        <p:nvSpPr>
          <p:cNvPr id="59" name="Geschweifte Klammer links 44">
            <a:extLst>
              <a:ext uri="{FF2B5EF4-FFF2-40B4-BE49-F238E27FC236}">
                <a16:creationId xmlns:a16="http://schemas.microsoft.com/office/drawing/2014/main" id="{4465BEDD-AE71-4365-B9CB-73032210C623}"/>
              </a:ext>
            </a:extLst>
          </p:cNvPr>
          <p:cNvSpPr/>
          <p:nvPr/>
        </p:nvSpPr>
        <p:spPr>
          <a:xfrm rot="16200000">
            <a:off x="4097353" y="5853770"/>
            <a:ext cx="116322" cy="850924"/>
          </a:xfrm>
          <a:prstGeom prst="leftBrace">
            <a:avLst>
              <a:gd name="adj1" fmla="val 74019"/>
              <a:gd name="adj2" fmla="val 49021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798"/>
          </a:p>
        </p:txBody>
      </p:sp>
      <p:sp>
        <p:nvSpPr>
          <p:cNvPr id="60" name="Geschweifte Klammer links 44">
            <a:extLst>
              <a:ext uri="{FF2B5EF4-FFF2-40B4-BE49-F238E27FC236}">
                <a16:creationId xmlns:a16="http://schemas.microsoft.com/office/drawing/2014/main" id="{D2D2CF3D-5C65-4439-BE8A-AF9A823C2D09}"/>
              </a:ext>
            </a:extLst>
          </p:cNvPr>
          <p:cNvSpPr/>
          <p:nvPr/>
        </p:nvSpPr>
        <p:spPr>
          <a:xfrm rot="16200000">
            <a:off x="2833645" y="5867976"/>
            <a:ext cx="116322" cy="850924"/>
          </a:xfrm>
          <a:prstGeom prst="leftBrace">
            <a:avLst>
              <a:gd name="adj1" fmla="val 74019"/>
              <a:gd name="adj2" fmla="val 49021"/>
            </a:avLst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798"/>
          </a:p>
        </p:txBody>
      </p:sp>
      <p:cxnSp>
        <p:nvCxnSpPr>
          <p:cNvPr id="65" name="Gerader Verbinder 49">
            <a:extLst>
              <a:ext uri="{FF2B5EF4-FFF2-40B4-BE49-F238E27FC236}">
                <a16:creationId xmlns:a16="http://schemas.microsoft.com/office/drawing/2014/main" id="{369C9F02-D2E5-4D5F-A3C6-7EE3C81C8F96}"/>
              </a:ext>
            </a:extLst>
          </p:cNvPr>
          <p:cNvCxnSpPr>
            <a:cxnSpLocks/>
          </p:cNvCxnSpPr>
          <p:nvPr/>
        </p:nvCxnSpPr>
        <p:spPr>
          <a:xfrm flipH="1">
            <a:off x="2191631" y="3960472"/>
            <a:ext cx="4339687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55">
            <a:extLst>
              <a:ext uri="{FF2B5EF4-FFF2-40B4-BE49-F238E27FC236}">
                <a16:creationId xmlns:a16="http://schemas.microsoft.com/office/drawing/2014/main" id="{0BECE5EF-8D25-4AC3-9EB6-AF15B48E8D70}"/>
              </a:ext>
            </a:extLst>
          </p:cNvPr>
          <p:cNvCxnSpPr>
            <a:cxnSpLocks/>
          </p:cNvCxnSpPr>
          <p:nvPr/>
        </p:nvCxnSpPr>
        <p:spPr>
          <a:xfrm flipH="1">
            <a:off x="2406596" y="4143968"/>
            <a:ext cx="4055982" cy="1501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99">
            <a:extLst>
              <a:ext uri="{FF2B5EF4-FFF2-40B4-BE49-F238E27FC236}">
                <a16:creationId xmlns:a16="http://schemas.microsoft.com/office/drawing/2014/main" id="{20249514-EFD4-47C6-8969-381C77FDC425}"/>
              </a:ext>
            </a:extLst>
          </p:cNvPr>
          <p:cNvCxnSpPr>
            <a:cxnSpLocks/>
          </p:cNvCxnSpPr>
          <p:nvPr/>
        </p:nvCxnSpPr>
        <p:spPr>
          <a:xfrm>
            <a:off x="6531317" y="3960472"/>
            <a:ext cx="0" cy="2027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99">
            <a:extLst>
              <a:ext uri="{FF2B5EF4-FFF2-40B4-BE49-F238E27FC236}">
                <a16:creationId xmlns:a16="http://schemas.microsoft.com/office/drawing/2014/main" id="{5C61EF19-4022-4BA2-92F5-1055D93F658B}"/>
              </a:ext>
            </a:extLst>
          </p:cNvPr>
          <p:cNvCxnSpPr>
            <a:cxnSpLocks/>
          </p:cNvCxnSpPr>
          <p:nvPr/>
        </p:nvCxnSpPr>
        <p:spPr>
          <a:xfrm>
            <a:off x="6462578" y="4149707"/>
            <a:ext cx="0" cy="20276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r Verbinder 49">
            <a:extLst>
              <a:ext uri="{FF2B5EF4-FFF2-40B4-BE49-F238E27FC236}">
                <a16:creationId xmlns:a16="http://schemas.microsoft.com/office/drawing/2014/main" id="{59939F30-DC85-4471-92E3-30DEF8C2C326}"/>
              </a:ext>
            </a:extLst>
          </p:cNvPr>
          <p:cNvCxnSpPr>
            <a:cxnSpLocks/>
          </p:cNvCxnSpPr>
          <p:nvPr/>
        </p:nvCxnSpPr>
        <p:spPr>
          <a:xfrm flipH="1">
            <a:off x="6837163" y="4775689"/>
            <a:ext cx="88133" cy="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r Verbinder 99">
            <a:extLst>
              <a:ext uri="{FF2B5EF4-FFF2-40B4-BE49-F238E27FC236}">
                <a16:creationId xmlns:a16="http://schemas.microsoft.com/office/drawing/2014/main" id="{5C6178EF-97BE-4F92-8EA4-A55DAAC47F00}"/>
              </a:ext>
            </a:extLst>
          </p:cNvPr>
          <p:cNvCxnSpPr>
            <a:cxnSpLocks/>
          </p:cNvCxnSpPr>
          <p:nvPr/>
        </p:nvCxnSpPr>
        <p:spPr>
          <a:xfrm>
            <a:off x="6827158" y="4415678"/>
            <a:ext cx="0" cy="36001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49">
            <a:extLst>
              <a:ext uri="{FF2B5EF4-FFF2-40B4-BE49-F238E27FC236}">
                <a16:creationId xmlns:a16="http://schemas.microsoft.com/office/drawing/2014/main" id="{F75091BA-AD19-4844-BE93-167D697652EF}"/>
              </a:ext>
            </a:extLst>
          </p:cNvPr>
          <p:cNvCxnSpPr>
            <a:cxnSpLocks/>
          </p:cNvCxnSpPr>
          <p:nvPr/>
        </p:nvCxnSpPr>
        <p:spPr>
          <a:xfrm flipH="1">
            <a:off x="6829256" y="3749785"/>
            <a:ext cx="88133" cy="2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r Verbinder 99">
            <a:extLst>
              <a:ext uri="{FF2B5EF4-FFF2-40B4-BE49-F238E27FC236}">
                <a16:creationId xmlns:a16="http://schemas.microsoft.com/office/drawing/2014/main" id="{3B4CBA64-EE4C-4CA6-AAE9-B8E158D4B5C4}"/>
              </a:ext>
            </a:extLst>
          </p:cNvPr>
          <p:cNvCxnSpPr>
            <a:cxnSpLocks/>
          </p:cNvCxnSpPr>
          <p:nvPr/>
        </p:nvCxnSpPr>
        <p:spPr>
          <a:xfrm>
            <a:off x="6819252" y="3574687"/>
            <a:ext cx="0" cy="17509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104">
            <a:extLst>
              <a:ext uri="{FF2B5EF4-FFF2-40B4-BE49-F238E27FC236}">
                <a16:creationId xmlns:a16="http://schemas.microsoft.com/office/drawing/2014/main" id="{DCA2DD8B-E8BA-4C87-8ED5-5909E9AA40D3}"/>
              </a:ext>
            </a:extLst>
          </p:cNvPr>
          <p:cNvSpPr txBox="1"/>
          <p:nvPr/>
        </p:nvSpPr>
        <p:spPr>
          <a:xfrm>
            <a:off x="6935723" y="5766272"/>
            <a:ext cx="33588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99" b="1" dirty="0"/>
              <a:t>** </a:t>
            </a:r>
            <a:r>
              <a:rPr lang="en-US" sz="1000" dirty="0"/>
              <a:t>Option for diagnosis via EA cycling date of the interface.</a:t>
            </a:r>
          </a:p>
          <a:p>
            <a:r>
              <a:rPr lang="en-US" sz="1000" dirty="0"/>
              <a:t>      If you not need this function, just leave it blank.</a:t>
            </a:r>
          </a:p>
        </p:txBody>
      </p:sp>
      <p:sp>
        <p:nvSpPr>
          <p:cNvPr id="80" name="Textfeld 104">
            <a:extLst>
              <a:ext uri="{FF2B5EF4-FFF2-40B4-BE49-F238E27FC236}">
                <a16:creationId xmlns:a16="http://schemas.microsoft.com/office/drawing/2014/main" id="{7091C4A7-E3EE-41D9-99FC-12F761DE313F}"/>
              </a:ext>
            </a:extLst>
          </p:cNvPr>
          <p:cNvSpPr txBox="1"/>
          <p:nvPr/>
        </p:nvSpPr>
        <p:spPr>
          <a:xfrm>
            <a:off x="6656410" y="3819159"/>
            <a:ext cx="3639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**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646833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ATWORKPOWERPOINTMASTERTEMPLATECONFIGURATION" val="&lt;!--Created with officeatwork--&gt;&#10;&lt;MasterTemplateConfiguration&gt;&#10;  &lt;TableOfContentsCollection&gt;&#10;    &lt;TableOfContents&gt;&#10;      &lt;Id&gt;61a8f83e-402f-4603-a8f6-ece4b2aedc9b&lt;/Id&gt;&#10;      &lt;IdName&gt;Agenda&lt;/IdName&gt;&#10;      &lt;Label&gt;&amp;lt;translate&amp;gt;Ribbon.New.TableOfContent&amp;lt;/translate&amp;gt;&lt;/Label&gt;&#10;      &lt;ImageMso&gt;FileNew&lt;/ImageMso&gt;&#10;      &lt;Image&gt;&lt;/Image&gt;&#10;      &lt;ShowToc&gt;true&lt;/ShowToc&gt;&#10;      &lt;Layout&gt;Title Subtitle and Content&lt;/Layout&gt;&#10;      &lt;TableOfContentsTitle&gt;Agenda&lt;/TableOfContentsTitle&gt;&#10;      &lt;Insert&gt;Presentation Title&lt;/Insert&gt;&#10;      &lt;InsertRelativePosition&gt;After&lt;/InsertRelativePosition&gt;&#10;      &lt;Level1&gt;Chapter Title&lt;/Level1&gt;&#10;      &lt;Level2&gt;&lt;/Level2&gt;&#10;      &lt;Level3&gt;&lt;/Level3&gt;&#10;      &lt;Level4&gt;&lt;/Level4&gt;&#10;      &lt;Level5&gt;&lt;/Level5&gt;&#10;      &lt;ShowPositionIndicatorSlides&gt;true&lt;/ShowPositionIndicatorSlides&gt;&#10;      &lt;UseSeparatePositionIndicatorSlides&gt;false&lt;/UseSeparatePositionIndicatorSlides&gt;&#10;      &lt;PositionIndicatorSlidesLayout&gt;&lt;/PositionIndicatorSlidesLayout&gt;&#10;      &lt;PositionIndicatorSlidesTitle&gt;&lt;/PositionIndicatorSlidesTitle&gt;&#10;      &lt;PositionIndicatorSlidesInsertRelativePosition&gt;Before&lt;/PositionIndicatorSlidesInsertRelativePosition&gt;&#10;      &lt;PositionIndicatorSlidesLevel1&gt;Chapter Title&lt;/PositionIndicatorSlidesLevel1&gt;&#10;      &lt;PositionIndicatorSlidesLevel2&gt;&lt;/PositionIndicatorSlidesLevel2&gt;&#10;      &lt;PositionIndicatorSlidesLevel3&gt;&lt;/PositionIndicatorSlidesLevel3&gt;&#10;      &lt;PositionIndicatorSlidesLevel4&gt;&lt;/PositionIndicatorSlidesLevel4&gt;&#10;      &lt;IsSelected&gt;false&lt;/IsSelected&gt;&#10;      &lt;IsExpanded&gt;false&lt;/IsExpanded&gt;&#10;    &lt;/TableOfContents&gt;&#10;  &lt;/TableOfContentsCollection&gt;&#10;  &lt;ThemeDefinition&gt;&#10;    &lt;DefaultThemeDefinition&gt;%Themes%\Festo 16x9.optp&lt;/DefaultThemeDefinition&gt;&#10;    &lt;PresentationThemeDefinition&gt;%Themes%\Festo 16x9.optp&lt;/PresentationThemeDefinition&gt;&#10;    &lt;SlideThemeDefinition&gt;%Themes%\Festo 16x9.optp&lt;/SlideThemeDefinition&gt;&#10;    &lt;ObjectThemeDefinition&gt;%Themes%\Festo 16x9.optp&lt;/ObjectThemeDefinition&gt;&#10;  &lt;/ThemeDefinition&gt;&#10;  &lt;MasterProperties&gt;&#10;    &lt;MasterProperty Id=&quot;2004112217333376588294&quot;&gt;&#10;      &lt;Fields&gt;&#10;        &lt;Field Id=&quot;2014070911013459735899&quot; ShowField=&quot;false&quot; /&gt;&#10;        &lt;Field Id=&quot;2011973463486587459834&quot; ShowField=&quot;true&quot; /&gt;&#10;        &lt;Field Id=&quot;2011349845823498345623&quot; ShowField=&quot;true&quot; /&gt;&#10;        &lt;Field Id=&quot;2014070910523459735899&quot; ShowField=&quot;false&quot; /&gt;&#10;        &lt;Field Id=&quot;2010032915520270663768&quot; ShowField=&quot;true&quot; /&gt;&#10;        &lt;Field Id=&quot;2014070910553459735899&quot; ShowField=&quot;false&quot; /&gt;&#10;        &lt;Field Id=&quot;2014070910500270663768&quot; ShowField=&quot;true&quot; /&gt;&#10;        &lt;Field Id=&quot;2014070910573459735899&quot; ShowField=&quot;false&quot; /&gt;&#10;        &lt;Field Id=&quot;2014070910318498756646&quot; ShowField=&quot;true&quot; /&gt;&#10;        &lt;Field Id=&quot;2011982347978498756646&quot; ShowField=&quot;true&quot; /&gt;&#10;        &lt;Field Id=&quot;2014070912413459735899&quot; ShowField=&quot;false&quot; /&gt;&#10;        &lt;Field Id=&quot;2010030416385012448864&quot; ShowField=&quot;false&quot; /&gt;&#10;        &lt;Field Id=&quot;2011239034983459735876&quot; ShowField=&quot;false&quot; /&gt;&#10;        &lt;Field Id=&quot;2013040434983459735876&quot; ShowField=&quot;false&quot; /&gt;&#10;        &lt;Field Id=&quot;2004111209284731179378&quot; ShowField=&quot;false&quot; /&gt;&#10;        &lt;Field Id=&quot;2004112217261556206966&quot; ShowField=&quot;false&quot; /&gt;&#10;        &lt;Field Id=&quot;2005040809241304770672&quot; ShowField=&quot;false&quot; /&gt;&#10;        &lt;Field Id=&quot;2013040434983459735899&quot; ShowField=&quot;false&quot; /&gt;&#10;        &lt;Field Id=&quot;2006083110591114259288&quot; ShowField=&quot;false&quot; /&gt;&#10;      &lt;/Fields&gt;&#10;    &lt;/MasterProperty&gt;&#10;  &lt;/MasterProperties&gt;&#10;  &lt;ContentItems&gt;&#10;    &lt;ContentItem Language=&quot;2057&quot; IsDefault=&quot;false&quot;&gt;&#10;      &lt;File HasContent=&quot;false&quot; LinkToLanguage=&quot;&quot; /&gt;&#10;    &lt;/ContentItem&gt;&#10;    &lt;ContentItem Language=&quot;1031&quot; IsDefault=&quot;true&quot;&gt;&#10;      &lt;File HasContent=&quot;true&quot; LinkToLanguage=&quot;&quot; /&gt;&#10;    &lt;/ContentItem&gt;&#10;  &lt;/ContentItems&gt;&#10;&lt;/MasterTemplateConfiguration&gt;"/>
  <p:tag name="OFFICEATWORKPOWERPOINTMASTERTEMPLATEID" val="Festo 16x9"/>
  <p:tag name="OAWWIZARDSTEPS" val="0|1|4"/>
  <p:tag name="ZOAWLANGID" val="2057"/>
  <p:tag name="OAWDOCPROPSOURCE" val="&lt;DocProps&gt;&lt;DocProp UID=&quot;2002122011014149059130932&quot; EntryUID=&quot;2011120516130832736690&quot;&gt;&lt;Field Name=&quot;IDName&quot; Value=&quot;Festo AG &amp;amp; Co. KG, Esslingen&quot;/&gt;&lt;Field Name=&quot;Organisation&quot; Value=&quot;Festo AG &amp;amp; Co. KG&quot;/&gt;&lt;Field Name=&quot;Department&quot; Value=&quot;&quot;/&gt;&lt;Field Name=&quot;Address1&quot; Value=&quot;&quot;/&gt;&lt;Field Name=&quot;Address2&quot; Value=&quot;&quot;/&gt;&lt;Field Name=&quot;Address3&quot; Value=&quot;&quot;/&gt;&lt;Field Name=&quot;Address4&quot; Value=&quot;&quot;/&gt;&lt;Field Name=&quot;Address5&quot; Value=&quot;&quot;/&gt;&lt;Field Name=&quot;Address6&quot; Value=&quot;&quot;/&gt;&lt;Field Name=&quot;Telefon&quot; Value=&quot;+49 711 347&quot;/&gt;&lt;Field Name=&quot;Fax&quot; Value=&quot;+49 711 347&quot;/&gt;&lt;Field Name=&quot;Country&quot; Value=&quot;GERMANY&quot;/&gt;&lt;Field Name=&quot;Email&quot; Value=&quot;&quot;/&gt;&lt;Field Name=&quot;Internet&quot; Value=&quot;www.festo.com&quot;/&gt;&lt;Field Name=&quot;City&quot; Value=&quot;&quot;/&gt;&lt;Field Name=&quot;Footer1&quot; Value=&quot;&quot;/&gt;&lt;Field Name=&quot;Footer2&quot; Value=&quot;&quot;/&gt;&lt;Field Name=&quot;Footer3&quot; Value=&quot;&quot;/&gt;&lt;Field Name=&quot;Footer4&quot; Value=&quot;&quot;/&gt;&lt;Field Name=&quot;Footer5&quot; Value=&quot;&quot;/&gt;&lt;Field Name=&quot;WdA4LogoColorPortrait&quot; Value=&quot;%Logos%\Wd_A4_Portrait_Festo_Color.2100.750.jpg&quot;/&gt;&lt;Field Name=&quot;WdA4LogoBlackWhitePortrait&quot; Value=&quot;%Logos%\Wd_A4_Portrait_Festo_BW.2100.750.jpg&quot;/&gt;&lt;Field Name=&quot;WdA4LogoColorQuer&quot; Value=&quot;%Logos%\Wd_A4_Portrait_Festo_Color.2100.750.jpg&quot;/&gt;&lt;Field Name=&quot;WdA4LogoBlackWhiteQuer&quot; Value=&quot;%Logos%\Wd_A4_Portrait_Festo_BW.2100.750.jpg&quot;/&gt;&lt;Field Name=&quot;WdLetterLogoColorPortrait&quot; Value=&quot;%Logos%\Wd_A4_Portrait_Festo_LowRes_Color.2100.750.jpg&quot;/&gt;&lt;Field Name=&quot;WdLetterLogoBlackWhitePortrait&quot; Value=&quot;%Logos%\Wd_A4_Portrait_Festo_LowRes_BW.2100.750.jpg&quot;/&gt;&lt;Field Name=&quot;WdLetterLogoColorQuer&quot; Value=&quot;%Logos%\Wd_A4_Portrait_Festo_Color.2100.750.jpg&quot;/&gt;&lt;Field Name=&quot;WdLetterLogoBlackWhiteQuer&quot; Value=&quot;%Logos%\Wd_A4_Portrait_Festo_BW.2100.750.jpg&quot;/&gt;&lt;Field Name=&quot;OlLogoSignature&quot; Value=&quot;%Logos%\Ol_Logo_ExampleCorporaton.jpg&quot;/&gt;&lt;Field Name=&quot;PpThemesDefault&quot; Value=&quot;%Themes%\Accounting.thmx&quot;/&gt;&lt;Field Name=&quot;PpThemesPresentation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ThemesSlide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ThemesObject&quot; Value=&quot;%Themes%\Sales.thmx|%Themes%\Sales_2.thmx|%Themes%\Sales_3.thmx;%Themes%\Accounting.thmx;%Themes%\Finance.thmx;%Themes%\HR.thmx;%Themes%\IT.thmx;%Themes%\Legal.thmx;%Themes%\Marketing.thmx;%Themes%\Production.thmx;%Themes%\RD.thmx;%Themes%\Legal.thmx&quot;/&gt;&lt;Field Name=&quot;PpLogoTitleSlides169&quot; Value=&quot;%Logos%\PP_TitleSlide169_ExampleCorporation.png&quot;/&gt;&lt;Field Name=&quot;PpLogoContentSlides169&quot; Value=&quot;%Logos%\PP_ContentSlide169_ExampleCorporation.png&quot;/&gt;&lt;Field Name=&quot;Rechtsform1&quot; Value=&quot;Legal form:&quot;/&gt;&lt;Field Name=&quot;Rechtsform2&quot; Value=&quot;Limited partnership&quot;/&gt;&lt;Field Name=&quot;Rechtsform3&quot; Value=&quot;Registerred office: Esslingen a. N.&quot;/&gt;&lt;Field Name=&quot;Rechtsform4&quot; Value=&quot;Register court Stuttgart&quot;/&gt;&lt;Field Name=&quot;Rechtsform5&quot; Value=&quot;COR 211583&quot;/&gt;&lt;Field Name=&quot;Rechtsform6&quot; Value=&quot;Value added tax id. number:&quot;/&gt;&lt;Field Name=&quot;Rechtsform7&quot; Value=&quot;DE 145 339 206&quot;/&gt;&lt;Field Name=&quot;Rechtsform8&quot; Value=&quot;.&quot;/&gt;&lt;Field Name=&quot;Rechtsform9&quot; Value=&quot;&quot;/&gt;&lt;Field Name=&quot;Rechtsform10&quot; Value=&quot;General partner:&quot;/&gt;&lt;Field Name=&quot;Rechtsform11&quot; Value=&quot;Festo Management&quot;/&gt;&lt;Field Name=&quot;Rechtsform12&quot; Value=&quot;Aktiengesellschaft&quot;/&gt;&lt;Field Name=&quot;Rechtsform13&quot; Value=&quot;Registered office: Vienna/Austria&quot;/&gt;&lt;Field Name=&quot;Rechtsform14&quot; Value=&quot;Commercial registered court:&quot;/&gt;&lt;Field Name=&quot;Rechtsform15&quot; Value=&quot;Commercial court Vienna&quot;/&gt;&lt;Field Name=&quot;Rechtsform16&quot; Value=&quot;COR FN 303027 d&quot;/&gt;&lt;Field Name=&quot;Rechtsform17&quot; Value=&quot;Board of Director:&quot;/&gt;&lt;Field Name=&quot;Rechtsform18&quot; Value=&quot;Dipl.-Kfm. Alfred Goll&quot;/&gt;&lt;Field Name=&quot;Rechtsform19&quot; Value=&quot;Dr. Claus Jessen&quot;/&gt;&lt;Field Name=&quot;Rechtsform20&quot; Value=&quot;Dr. Ansgar Kriwet&quot;/&gt;&lt;Field Name=&quot;Rechtsform21&quot; Value=&quot;Dipl.-Kfm. Michael Mölleken&quot;/&gt;&lt;Field Name=&quot;Rechtsform22&quot; Value=&quot;Dr. Eberhard Veit (Chairman)&quot;/&gt;&lt;Field Name=&quot;Rechtsform23&quot; Value=&quot;Chairman of the Supervisory Board:&quot;/&gt;&lt;Field Name=&quot;Rechtsform24&quot; Value=&quot;Prof. Dr.-Ing. Dr.-Ing. E.h. Klaus Wucherer&quot;/&gt;&lt;Field Name=&quot;Rechtsform25&quot; Value=&quot;&quot;/&gt;&lt;Field Name=&quot;Rechtsform26&quot; Value=&quot;Bank details:&quot;/&gt;&lt;Field Name=&quot;Rechtsform27&quot; Value=&quot;Deutsche Bank AG, Esslingen&quot;/&gt;&lt;Field Name=&quot;Rechtsform28&quot; Value=&quot;(Bank code 611 700 76) 0 105 544&quot;/&gt;&lt;Field Name=&quot;Rechtsform29&quot; Value=&quot;SWIFT/BIC: DEUTDESS611&quot;/&gt;&lt;Field Name=&quot;Rechtsform30&quot; Value=&quot;IBAN: DE58 6117 0076 0010 5544 00&quot;/&gt;&lt;Field Name=&quot;BUKRS&quot; Value=&quot;0001&quot;/&gt;&lt;Field Name=&quot;Data_UID&quot; Value=&quot;2011120516130832736690&quot;/&gt;&lt;Field Name=&quot;Field_Name&quot; Value=&quot;Rechtsform17&quot;/&gt;&lt;Field Name=&quot;Field_UID&quot; Value=&quot;2011120515433562213375&quot;/&gt;&lt;Field Name=&quot;ML_LCID&quot; Value=&quot;2057&quot;/&gt;&lt;Field Name=&quot;ML_Value&quot; Value=&quot;Board of Director:&quot;/&gt;&lt;/DocProp&gt;&lt;DocProp UID=&quot;2006040509495284662868&quot; EntryUID=&quot;2003121817293296325874&quot;&gt;&lt;Field Name=&quot;IDName&quot; Value=&quot;(None)&quot;/&gt;&lt;/DocProp&gt;&lt;DocProp UID=&quot;200212191811121321310321301031x&quot; EntryUID=&quot;2003121817293296325874&quot;&gt;&lt;Field Name=&quot;IDName&quot; Value=&quot;(None)&quot;/&gt;&lt;/DocProp&gt;&lt;DocProp UID=&quot;2002122010583847234010578&quot; EntryUID=&quot;2003121817293296325874&quot;&gt;&lt;Field Name=&quot;IDName&quot; Value=&quot;(None)&quot;/&gt;&lt;/DocProp&gt;&lt;DocProp UID=&quot;2003061115381095709037&quot; EntryUID=&quot;2003121817293296325874&quot;&gt;&lt;Field Name=&quot;IDName&quot; Value=&quot;(None)&quot;/&gt;&lt;/DocProp&gt;&lt;DocProp UID=&quot;2004112217333376588294&quot; EntryUID=&quot;2004123010144120300001&quot;&gt;&lt;Field UID=&quot;2011973463486587459834&quot; Name=&quot;PresentationTitle&quot; Value=&quot;&quot;/&gt;&lt;Field UID=&quot;2011349845823498345623&quot; Name=&quot;PresentationSubTitle&quot; Value=&quot;&quot;/&gt;&lt;Field UID=&quot;2010032915520270663768&quot; Name=&quot;DocumentCreatedDate&quot; Value=&quot;&quot;/&gt;&lt;Field UID=&quot;2014070910500270663768&quot; Name=&quot;DocumentModifiedDate&quot; Value=&quot;&quot;/&gt;&lt;Field UID=&quot;2014070910318498756646&quot; Name=&quot;Status&quot; Value=&quot;&quot;/&gt;&lt;Field UID=&quot;2011982347978498756646&quot; Name=&quot;Classification&quot; Value=&quot;&quot;/&gt;&lt;/DocProp&gt;&lt;/DocProps&gt;&#10;"/>
  <p:tag name="OFFICEATWORKPRESENTATIONPROJECTID" val="festocom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DocumentCreatedDate&quot;)=&quot;&quot;,&quot;&quot;,Translate(&quot;Doc.PPT.Created&quot;) &amp; &quot; &quot; &amp; MasterProperty(&quot;CustomField&quot;, &quot;DocumentCreatedDate&quot;))]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DocumentModifiedDate&quot;)=&quot;&quot;,&quot;&quot;,Translate(&quot;Doc.PPT.Modified&quot;) &amp; &quot; &quot; &amp; MasterProperty(&quot;CustomField&quot;, &quot;DocumentModifiedDate&quot;))]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icon to add pictur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Status&quot;)=&quot;&quot;,&quot;&quot;,Translate(&quot;Doc.PPT.Status&quot;) &amp; &quot; &quot; &amp; MasterProperty(&quot;CustomField&quot;, &quot;Status&quot;))]]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23TjkxQl.lxVNY.9yQ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7d5husRlaR53LY4zFAP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ontactperson&quot;,&quot;Department&quot;) &amp; &quot;\&quot; &amp; MasterProperty(&quot;Contactperson&quot;,&quot;Displayname&quot;)]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&#10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Status&quot;)=&quot;&quot;,&quot;&quot;,Translate(&quot;Doc.PPT.Status&quot;) &amp; &quot; &quot; &amp; MasterProperty(&quot;CustomField&quot;, &quot;Status&quot;))]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Untertite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#›"/>
</p:tagLst>
</file>

<file path=ppt/theme/theme1.xml><?xml version="1.0" encoding="utf-8"?>
<a:theme xmlns:a="http://schemas.openxmlformats.org/drawingml/2006/main" name="Festo 16x9">
  <a:themeElements>
    <a:clrScheme name="Festo Color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CEBF6"/>
      </a:accent1>
      <a:accent2>
        <a:srgbClr val="CACCCC"/>
      </a:accent2>
      <a:accent3>
        <a:srgbClr val="969A9A"/>
      </a:accent3>
      <a:accent4>
        <a:srgbClr val="626666"/>
      </a:accent4>
      <a:accent5>
        <a:srgbClr val="000000"/>
      </a:accent5>
      <a:accent6>
        <a:srgbClr val="0091DC"/>
      </a:accent6>
      <a:hlink>
        <a:srgbClr val="000000"/>
      </a:hlink>
      <a:folHlink>
        <a:srgbClr val="969A9A"/>
      </a:folHlink>
    </a:clrScheme>
    <a:fontScheme name="MetaPlusLF">
      <a:majorFont>
        <a:latin typeface="MetaPlusLF"/>
        <a:ea typeface=""/>
        <a:cs typeface=""/>
      </a:majorFont>
      <a:minorFont>
        <a:latin typeface="MetaPlusL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16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8AB805A-B7D9-4918-9C4D-3D2E1FD8C3C0}" vid="{317E3317-7B68-429C-A78C-BDFA171B771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3AD5A4149A92E4091AB8BB67DA774A0" ma:contentTypeVersion="10" ma:contentTypeDescription="Ein neues Dokument erstellen." ma:contentTypeScope="" ma:versionID="c7994c4a4e9f53989863da6966181a1c">
  <xsd:schema xmlns:xsd="http://www.w3.org/2001/XMLSchema" xmlns:xs="http://www.w3.org/2001/XMLSchema" xmlns:p="http://schemas.microsoft.com/office/2006/metadata/properties" xmlns:ns3="0f42870e-68d6-4b6d-8b19-0b39acde5463" targetNamespace="http://schemas.microsoft.com/office/2006/metadata/properties" ma:root="true" ma:fieldsID="fb062b62afb76aae5d4a4a74d08aae60" ns3:_="">
    <xsd:import namespace="0f42870e-68d6-4b6d-8b19-0b39acde546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42870e-68d6-4b6d-8b19-0b39acde54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B595186-91AB-41E1-8DED-92A0D80F4F7D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0f42870e-68d6-4b6d-8b19-0b39acde5463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BDC7B47-E7CA-46AA-82B0-92BBB43CD1B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7CF8DE-BF1C-4C96-A7EE-6885CD20D7A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f42870e-68d6-4b6d-8b19-0b39acde546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</Words>
  <Application>Microsoft Office PowerPoint</Application>
  <PresentationFormat>Benutzerdefiniert</PresentationFormat>
  <Paragraphs>2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MetaPlusLF</vt:lpstr>
      <vt:lpstr>Festo 16x9</vt:lpstr>
      <vt:lpstr>think-cell Folie</vt:lpstr>
      <vt:lpstr>PowerPoint-Präsentation</vt:lpstr>
    </vt:vector>
  </TitlesOfParts>
  <Company>Festo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TSA-F-CB</dc:title>
  <dc:creator>Timo Dreesmann</dc:creator>
  <cp:lastModifiedBy>Berger, Alexander</cp:lastModifiedBy>
  <cp:revision>404</cp:revision>
  <cp:lastPrinted>2019-04-24T06:54:10Z</cp:lastPrinted>
  <dcterms:created xsi:type="dcterms:W3CDTF">2017-05-11T15:45:27Z</dcterms:created>
  <dcterms:modified xsi:type="dcterms:W3CDTF">2020-10-06T12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thorSign">
    <vt:lpwstr>jki</vt:lpwstr>
  </property>
  <property fmtid="{D5CDD505-2E9C-101B-9397-08002B2CF9AE}" pid="3" name="AuthorName">
    <vt:lpwstr>Jochen Krinn</vt:lpwstr>
  </property>
  <property fmtid="{D5CDD505-2E9C-101B-9397-08002B2CF9AE}" pid="4" name="AuthorDept">
    <vt:lpwstr>BP-CM</vt:lpwstr>
  </property>
  <property fmtid="{D5CDD505-2E9C-101B-9397-08002B2CF9AE}" pid="5" name="Title">
    <vt:lpwstr>CPX/VTSA outlook for 2018 ongoing</vt:lpwstr>
  </property>
  <property fmtid="{D5CDD505-2E9C-101B-9397-08002B2CF9AE}" pid="6" name="FooterLanguage">
    <vt:lpwstr>en</vt:lpwstr>
  </property>
  <property fmtid="{D5CDD505-2E9C-101B-9397-08002B2CF9AE}" pid="7" name="Created">
    <vt:lpwstr>10/6/2020 8:00:00 AM</vt:lpwstr>
  </property>
  <property fmtid="{D5CDD505-2E9C-101B-9397-08002B2CF9AE}" pid="8" name="Modified">
    <vt:lpwstr/>
  </property>
  <property fmtid="{D5CDD505-2E9C-101B-9397-08002B2CF9AE}" pid="9" name="ModifiedBySign">
    <vt:lpwstr/>
  </property>
  <property fmtid="{D5CDD505-2E9C-101B-9397-08002B2CF9AE}" pid="10" name="Status">
    <vt:lpwstr>0</vt:lpwstr>
  </property>
  <property fmtid="{D5CDD505-2E9C-101B-9397-08002B2CF9AE}" pid="11" name="Security">
    <vt:lpwstr>0</vt:lpwstr>
  </property>
  <property fmtid="{D5CDD505-2E9C-101B-9397-08002B2CF9AE}" pid="12" name="SlideNumbers">
    <vt:lpwstr>True</vt:lpwstr>
  </property>
  <property fmtid="{D5CDD505-2E9C-101B-9397-08002B2CF9AE}" pid="13" name="ContentTypeId">
    <vt:lpwstr>0x01010013AD5A4149A92E4091AB8BB67DA774A0</vt:lpwstr>
  </property>
  <property fmtid="{D5CDD505-2E9C-101B-9397-08002B2CF9AE}" pid="14" name="Author">
    <vt:lpwstr>Festo_SK-AE</vt:lpwstr>
  </property>
  <property fmtid="{D5CDD505-2E9C-101B-9397-08002B2CF9AE}" pid="15" name="FooterTitle">
    <vt:lpwstr>VTSA-F-CB_Adressing of ProfiNET valve terminal</vt:lpwstr>
  </property>
  <property fmtid="{D5CDD505-2E9C-101B-9397-08002B2CF9AE}" pid="16" name="MSIP_Label_9c86c25f-31f1-46f7-b4f9-3c53b1ed0b07_Enabled">
    <vt:lpwstr>True</vt:lpwstr>
  </property>
  <property fmtid="{D5CDD505-2E9C-101B-9397-08002B2CF9AE}" pid="17" name="MSIP_Label_9c86c25f-31f1-46f7-b4f9-3c53b1ed0b07_SiteId">
    <vt:lpwstr>a1ae89fb-21b9-40bf-9d82-a10ae85a2407</vt:lpwstr>
  </property>
  <property fmtid="{D5CDD505-2E9C-101B-9397-08002B2CF9AE}" pid="18" name="MSIP_Label_9c86c25f-31f1-46f7-b4f9-3c53b1ed0b07_Owner">
    <vt:lpwstr>tmdr@festo.net</vt:lpwstr>
  </property>
  <property fmtid="{D5CDD505-2E9C-101B-9397-08002B2CF9AE}" pid="19" name="MSIP_Label_9c86c25f-31f1-46f7-b4f9-3c53b1ed0b07_SetDate">
    <vt:lpwstr>2020-01-30T10:03:26.5819186Z</vt:lpwstr>
  </property>
  <property fmtid="{D5CDD505-2E9C-101B-9397-08002B2CF9AE}" pid="20" name="MSIP_Label_9c86c25f-31f1-46f7-b4f9-3c53b1ed0b07_Name">
    <vt:lpwstr>Internal</vt:lpwstr>
  </property>
  <property fmtid="{D5CDD505-2E9C-101B-9397-08002B2CF9AE}" pid="21" name="MSIP_Label_9c86c25f-31f1-46f7-b4f9-3c53b1ed0b07_Application">
    <vt:lpwstr>Microsoft Azure Information Protection</vt:lpwstr>
  </property>
  <property fmtid="{D5CDD505-2E9C-101B-9397-08002B2CF9AE}" pid="22" name="MSIP_Label_9c86c25f-31f1-46f7-b4f9-3c53b1ed0b07_ActionId">
    <vt:lpwstr>cca41279-7fcf-4207-9593-b3ca0b3c612c</vt:lpwstr>
  </property>
  <property fmtid="{D5CDD505-2E9C-101B-9397-08002B2CF9AE}" pid="23" name="MSIP_Label_9c86c25f-31f1-46f7-b4f9-3c53b1ed0b07_Extended_MSFT_Method">
    <vt:lpwstr>Automatic</vt:lpwstr>
  </property>
  <property fmtid="{D5CDD505-2E9C-101B-9397-08002B2CF9AE}" pid="24" name="Sensitivity">
    <vt:lpwstr>Internal</vt:lpwstr>
  </property>
</Properties>
</file>